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6.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 id="2147493547" r:id="rId17"/>
  </p:sldMasterIdLst>
  <p:notesMasterIdLst>
    <p:notesMasterId r:id="rId28"/>
  </p:notesMasterIdLst>
  <p:handoutMasterIdLst>
    <p:handoutMasterId r:id="rId29"/>
  </p:handoutMasterIdLst>
  <p:sldIdLst>
    <p:sldId id="2147469864" r:id="rId18"/>
    <p:sldId id="2147469841" r:id="rId19"/>
    <p:sldId id="2147469865" r:id="rId20"/>
    <p:sldId id="2147469900" r:id="rId21"/>
    <p:sldId id="2147469901" r:id="rId22"/>
    <p:sldId id="2147469903" r:id="rId23"/>
    <p:sldId id="2147469902" r:id="rId24"/>
    <p:sldId id="2147469904" r:id="rId25"/>
    <p:sldId id="2147469898" r:id="rId26"/>
    <p:sldId id="2076137535" r:id="rId27"/>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1DF"/>
    <a:srgbClr val="0078D4"/>
    <a:srgbClr val="B2B2B2"/>
    <a:srgbClr val="E5E5E5"/>
    <a:srgbClr val="1482D7"/>
    <a:srgbClr val="1885D8"/>
    <a:srgbClr val="DD3C00"/>
    <a:srgbClr val="FFFFFF"/>
    <a:srgbClr val="B82619"/>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AB60CF-9E42-452B-B91F-7BE13EA93257}" v="50" dt="2022-08-10T14:33:16.6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90" autoAdjust="0"/>
    <p:restoredTop sz="96014" autoAdjust="0"/>
  </p:normalViewPr>
  <p:slideViewPr>
    <p:cSldViewPr snapToGrid="0">
      <p:cViewPr>
        <p:scale>
          <a:sx n="102" d="100"/>
          <a:sy n="102" d="100"/>
        </p:scale>
        <p:origin x="2424" y="1362"/>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8/10/2022</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8/10/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0/2022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2181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3473230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0/2022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0205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14.xml"/><Relationship Id="rId4" Type="http://schemas.openxmlformats.org/officeDocument/2006/relationships/image" Target="../media/image31.svg"/></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4" Type="http://schemas.openxmlformats.org/officeDocument/2006/relationships/image" Target="../media/image46.jpe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4.xml"/><Relationship Id="rId4" Type="http://schemas.openxmlformats.org/officeDocument/2006/relationships/image" Target="../media/image52.jpe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4.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4" Type="http://schemas.openxmlformats.org/officeDocument/2006/relationships/image" Target="../media/image46.jpeg"/></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8/10/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5441922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8/10/2022</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8/10/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8/10/2022</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374047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32010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67592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8237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0079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73946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534043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888148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9888522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85808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4646646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72700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2847224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8329107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3679880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5423991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172214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087386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5764065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3630771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1791404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40263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23409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13710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803443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091447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023743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09536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94396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33140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41638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784755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98501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28650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61521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93232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71067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42423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56475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8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761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9319168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7846530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114003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535696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86155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797845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166952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989469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695386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29760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56483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45476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49461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93014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8561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60689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32536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1188629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2181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511369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20539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8989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09393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658893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060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944455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135930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2715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18749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821278011"/>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51226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8/10/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747717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7.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441.xml"/><Relationship Id="rId21" Type="http://schemas.openxmlformats.org/officeDocument/2006/relationships/slideLayout" Target="../slideLayouts/slideLayout436.xml"/><Relationship Id="rId42" Type="http://schemas.openxmlformats.org/officeDocument/2006/relationships/slideLayout" Target="../slideLayouts/slideLayout457.xml"/><Relationship Id="rId47" Type="http://schemas.openxmlformats.org/officeDocument/2006/relationships/slideLayout" Target="../slideLayouts/slideLayout462.xml"/><Relationship Id="rId63" Type="http://schemas.openxmlformats.org/officeDocument/2006/relationships/slideLayout" Target="../slideLayouts/slideLayout478.xml"/><Relationship Id="rId68" Type="http://schemas.openxmlformats.org/officeDocument/2006/relationships/slideLayout" Target="../slideLayouts/slideLayout483.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9" Type="http://schemas.openxmlformats.org/officeDocument/2006/relationships/slideLayout" Target="../slideLayouts/slideLayout444.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32" Type="http://schemas.openxmlformats.org/officeDocument/2006/relationships/slideLayout" Target="../slideLayouts/slideLayout447.xml"/><Relationship Id="rId37" Type="http://schemas.openxmlformats.org/officeDocument/2006/relationships/slideLayout" Target="../slideLayouts/slideLayout452.xml"/><Relationship Id="rId40" Type="http://schemas.openxmlformats.org/officeDocument/2006/relationships/slideLayout" Target="../slideLayouts/slideLayout455.xml"/><Relationship Id="rId45" Type="http://schemas.openxmlformats.org/officeDocument/2006/relationships/slideLayout" Target="../slideLayouts/slideLayout460.xml"/><Relationship Id="rId53" Type="http://schemas.openxmlformats.org/officeDocument/2006/relationships/slideLayout" Target="../slideLayouts/slideLayout468.xml"/><Relationship Id="rId58" Type="http://schemas.openxmlformats.org/officeDocument/2006/relationships/slideLayout" Target="../slideLayouts/slideLayout473.xml"/><Relationship Id="rId66" Type="http://schemas.openxmlformats.org/officeDocument/2006/relationships/slideLayout" Target="../slideLayouts/slideLayout481.xml"/><Relationship Id="rId74" Type="http://schemas.openxmlformats.org/officeDocument/2006/relationships/theme" Target="../theme/theme14.xml"/><Relationship Id="rId5" Type="http://schemas.openxmlformats.org/officeDocument/2006/relationships/slideLayout" Target="../slideLayouts/slideLayout420.xml"/><Relationship Id="rId61" Type="http://schemas.openxmlformats.org/officeDocument/2006/relationships/slideLayout" Target="../slideLayouts/slideLayout476.xml"/><Relationship Id="rId19" Type="http://schemas.openxmlformats.org/officeDocument/2006/relationships/slideLayout" Target="../slideLayouts/slideLayout43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slideLayout" Target="../slideLayouts/slideLayout445.xml"/><Relationship Id="rId35" Type="http://schemas.openxmlformats.org/officeDocument/2006/relationships/slideLayout" Target="../slideLayouts/slideLayout450.xml"/><Relationship Id="rId43" Type="http://schemas.openxmlformats.org/officeDocument/2006/relationships/slideLayout" Target="../slideLayouts/slideLayout458.xml"/><Relationship Id="rId48" Type="http://schemas.openxmlformats.org/officeDocument/2006/relationships/slideLayout" Target="../slideLayouts/slideLayout463.xml"/><Relationship Id="rId56" Type="http://schemas.openxmlformats.org/officeDocument/2006/relationships/slideLayout" Target="../slideLayouts/slideLayout471.xml"/><Relationship Id="rId64" Type="http://schemas.openxmlformats.org/officeDocument/2006/relationships/slideLayout" Target="../slideLayouts/slideLayout479.xml"/><Relationship Id="rId69" Type="http://schemas.openxmlformats.org/officeDocument/2006/relationships/slideLayout" Target="../slideLayouts/slideLayout484.xml"/><Relationship Id="rId8" Type="http://schemas.openxmlformats.org/officeDocument/2006/relationships/slideLayout" Target="../slideLayouts/slideLayout423.xml"/><Relationship Id="rId51" Type="http://schemas.openxmlformats.org/officeDocument/2006/relationships/slideLayout" Target="../slideLayouts/slideLayout466.xml"/><Relationship Id="rId72" Type="http://schemas.openxmlformats.org/officeDocument/2006/relationships/slideLayout" Target="../slideLayouts/slideLayout487.xml"/><Relationship Id="rId3" Type="http://schemas.openxmlformats.org/officeDocument/2006/relationships/slideLayout" Target="../slideLayouts/slideLayout418.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slideLayout" Target="../slideLayouts/slideLayout448.xml"/><Relationship Id="rId38" Type="http://schemas.openxmlformats.org/officeDocument/2006/relationships/slideLayout" Target="../slideLayouts/slideLayout453.xml"/><Relationship Id="rId46" Type="http://schemas.openxmlformats.org/officeDocument/2006/relationships/slideLayout" Target="../slideLayouts/slideLayout461.xml"/><Relationship Id="rId59" Type="http://schemas.openxmlformats.org/officeDocument/2006/relationships/slideLayout" Target="../slideLayouts/slideLayout474.xml"/><Relationship Id="rId67" Type="http://schemas.openxmlformats.org/officeDocument/2006/relationships/slideLayout" Target="../slideLayouts/slideLayout482.xml"/><Relationship Id="rId20" Type="http://schemas.openxmlformats.org/officeDocument/2006/relationships/slideLayout" Target="../slideLayouts/slideLayout435.xml"/><Relationship Id="rId41" Type="http://schemas.openxmlformats.org/officeDocument/2006/relationships/slideLayout" Target="../slideLayouts/slideLayout456.xml"/><Relationship Id="rId54" Type="http://schemas.openxmlformats.org/officeDocument/2006/relationships/slideLayout" Target="../slideLayouts/slideLayout469.xml"/><Relationship Id="rId62" Type="http://schemas.openxmlformats.org/officeDocument/2006/relationships/slideLayout" Target="../slideLayouts/slideLayout477.xml"/><Relationship Id="rId70" Type="http://schemas.openxmlformats.org/officeDocument/2006/relationships/slideLayout" Target="../slideLayouts/slideLayout485.xml"/><Relationship Id="rId75" Type="http://schemas.openxmlformats.org/officeDocument/2006/relationships/image" Target="../media/image6.emf"/><Relationship Id="rId1" Type="http://schemas.openxmlformats.org/officeDocument/2006/relationships/slideLayout" Target="../slideLayouts/slideLayout416.xml"/><Relationship Id="rId6" Type="http://schemas.openxmlformats.org/officeDocument/2006/relationships/slideLayout" Target="../slideLayouts/slideLayout421.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36" Type="http://schemas.openxmlformats.org/officeDocument/2006/relationships/slideLayout" Target="../slideLayouts/slideLayout451.xml"/><Relationship Id="rId49" Type="http://schemas.openxmlformats.org/officeDocument/2006/relationships/slideLayout" Target="../slideLayouts/slideLayout464.xml"/><Relationship Id="rId57" Type="http://schemas.openxmlformats.org/officeDocument/2006/relationships/slideLayout" Target="../slideLayouts/slideLayout472.xml"/><Relationship Id="rId10" Type="http://schemas.openxmlformats.org/officeDocument/2006/relationships/slideLayout" Target="../slideLayouts/slideLayout425.xml"/><Relationship Id="rId31" Type="http://schemas.openxmlformats.org/officeDocument/2006/relationships/slideLayout" Target="../slideLayouts/slideLayout446.xml"/><Relationship Id="rId44" Type="http://schemas.openxmlformats.org/officeDocument/2006/relationships/slideLayout" Target="../slideLayouts/slideLayout459.xml"/><Relationship Id="rId52" Type="http://schemas.openxmlformats.org/officeDocument/2006/relationships/slideLayout" Target="../slideLayouts/slideLayout467.xml"/><Relationship Id="rId60" Type="http://schemas.openxmlformats.org/officeDocument/2006/relationships/slideLayout" Target="../slideLayouts/slideLayout475.xml"/><Relationship Id="rId65" Type="http://schemas.openxmlformats.org/officeDocument/2006/relationships/slideLayout" Target="../slideLayouts/slideLayout480.xml"/><Relationship Id="rId73" Type="http://schemas.openxmlformats.org/officeDocument/2006/relationships/slideLayout" Target="../slideLayouts/slideLayout488.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39" Type="http://schemas.openxmlformats.org/officeDocument/2006/relationships/slideLayout" Target="../slideLayouts/slideLayout454.xml"/><Relationship Id="rId34" Type="http://schemas.openxmlformats.org/officeDocument/2006/relationships/slideLayout" Target="../slideLayouts/slideLayout449.xml"/><Relationship Id="rId50" Type="http://schemas.openxmlformats.org/officeDocument/2006/relationships/slideLayout" Target="../slideLayouts/slideLayout465.xml"/><Relationship Id="rId55" Type="http://schemas.openxmlformats.org/officeDocument/2006/relationships/slideLayout" Target="../slideLayouts/slideLayout470.xml"/><Relationship Id="rId7" Type="http://schemas.openxmlformats.org/officeDocument/2006/relationships/slideLayout" Target="../slideLayouts/slideLayout422.xml"/><Relationship Id="rId71" Type="http://schemas.openxmlformats.org/officeDocument/2006/relationships/slideLayout" Target="../slideLayouts/slideLayout48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6.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6.emf"/><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image" Target="../media/image6.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theme" Target="../theme/theme7.xml"/><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63" Type="http://schemas.openxmlformats.org/officeDocument/2006/relationships/slideLayout" Target="../slideLayouts/slideLayout269.xml"/><Relationship Id="rId68" Type="http://schemas.openxmlformats.org/officeDocument/2006/relationships/slideLayout" Target="../slideLayouts/slideLayout27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9" Type="http://schemas.openxmlformats.org/officeDocument/2006/relationships/slideLayout" Target="../slideLayouts/slideLayout235.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53" Type="http://schemas.openxmlformats.org/officeDocument/2006/relationships/slideLayout" Target="../slideLayouts/slideLayout259.xml"/><Relationship Id="rId58" Type="http://schemas.openxmlformats.org/officeDocument/2006/relationships/slideLayout" Target="../slideLayouts/slideLayout264.xml"/><Relationship Id="rId66" Type="http://schemas.openxmlformats.org/officeDocument/2006/relationships/slideLayout" Target="../slideLayouts/slideLayout272.xml"/><Relationship Id="rId74" Type="http://schemas.openxmlformats.org/officeDocument/2006/relationships/theme" Target="../theme/theme8.xml"/><Relationship Id="rId5" Type="http://schemas.openxmlformats.org/officeDocument/2006/relationships/slideLayout" Target="../slideLayouts/slideLayout211.xml"/><Relationship Id="rId61" Type="http://schemas.openxmlformats.org/officeDocument/2006/relationships/slideLayout" Target="../slideLayouts/slideLayout267.xml"/><Relationship Id="rId19" Type="http://schemas.openxmlformats.org/officeDocument/2006/relationships/slideLayout" Target="../slideLayouts/slideLayout22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slideLayout" Target="../slideLayouts/slideLayout262.xml"/><Relationship Id="rId64" Type="http://schemas.openxmlformats.org/officeDocument/2006/relationships/slideLayout" Target="../slideLayouts/slideLayout270.xml"/><Relationship Id="rId69" Type="http://schemas.openxmlformats.org/officeDocument/2006/relationships/slideLayout" Target="../slideLayouts/slideLayout275.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72" Type="http://schemas.openxmlformats.org/officeDocument/2006/relationships/slideLayout" Target="../slideLayouts/slideLayout278.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59" Type="http://schemas.openxmlformats.org/officeDocument/2006/relationships/slideLayout" Target="../slideLayouts/slideLayout265.xml"/><Relationship Id="rId67" Type="http://schemas.openxmlformats.org/officeDocument/2006/relationships/slideLayout" Target="../slideLayouts/slideLayout273.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62" Type="http://schemas.openxmlformats.org/officeDocument/2006/relationships/slideLayout" Target="../slideLayouts/slideLayout268.xml"/><Relationship Id="rId70" Type="http://schemas.openxmlformats.org/officeDocument/2006/relationships/slideLayout" Target="../slideLayouts/slideLayout276.xml"/><Relationship Id="rId75" Type="http://schemas.openxmlformats.org/officeDocument/2006/relationships/image" Target="../media/image6.emf"/><Relationship Id="rId1" Type="http://schemas.openxmlformats.org/officeDocument/2006/relationships/slideLayout" Target="../slideLayouts/slideLayout207.xml"/><Relationship Id="rId6" Type="http://schemas.openxmlformats.org/officeDocument/2006/relationships/slideLayout" Target="../slideLayouts/slideLayout212.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slideLayout" Target="../slideLayouts/slideLayout26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60" Type="http://schemas.openxmlformats.org/officeDocument/2006/relationships/slideLayout" Target="../slideLayouts/slideLayout266.xml"/><Relationship Id="rId65" Type="http://schemas.openxmlformats.org/officeDocument/2006/relationships/slideLayout" Target="../slideLayouts/slideLayout271.xml"/><Relationship Id="rId73" Type="http://schemas.openxmlformats.org/officeDocument/2006/relationships/slideLayout" Target="../slideLayouts/slideLayout279.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34" Type="http://schemas.openxmlformats.org/officeDocument/2006/relationships/slideLayout" Target="../slideLayouts/slideLayout240.xml"/><Relationship Id="rId50" Type="http://schemas.openxmlformats.org/officeDocument/2006/relationships/slideLayout" Target="../slideLayouts/slideLayout256.xml"/><Relationship Id="rId55" Type="http://schemas.openxmlformats.org/officeDocument/2006/relationships/slideLayout" Target="../slideLayouts/slideLayout261.xml"/><Relationship Id="rId7" Type="http://schemas.openxmlformats.org/officeDocument/2006/relationships/slideLayout" Target="../slideLayouts/slideLayout213.xml"/><Relationship Id="rId71" Type="http://schemas.openxmlformats.org/officeDocument/2006/relationships/slideLayout" Target="../slideLayouts/slideLayout2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73235126"/>
      </p:ext>
    </p:extLst>
  </p:cSld>
  <p:clrMap bg1="lt1" tx1="dk1" bg2="lt2" tx2="dk2" accent1="accent1" accent2="accent2" accent3="accent3" accent4="accent4" accent5="accent5" accent6="accent6" hlink="hlink" folHlink="folHlink"/>
  <p:sldLayoutIdLst>
    <p:sldLayoutId id="2147493548" r:id="rId1"/>
    <p:sldLayoutId id="2147493549" r:id="rId2"/>
    <p:sldLayoutId id="2147493550" r:id="rId3"/>
    <p:sldLayoutId id="2147493551" r:id="rId4"/>
    <p:sldLayoutId id="2147493552" r:id="rId5"/>
    <p:sldLayoutId id="2147493553" r:id="rId6"/>
    <p:sldLayoutId id="2147493554" r:id="rId7"/>
    <p:sldLayoutId id="2147493555" r:id="rId8"/>
    <p:sldLayoutId id="2147493556" r:id="rId9"/>
    <p:sldLayoutId id="2147493557" r:id="rId10"/>
    <p:sldLayoutId id="2147493558" r:id="rId11"/>
    <p:sldLayoutId id="2147493559" r:id="rId12"/>
    <p:sldLayoutId id="2147493560" r:id="rId13"/>
    <p:sldLayoutId id="2147493561" r:id="rId14"/>
    <p:sldLayoutId id="2147493562" r:id="rId15"/>
    <p:sldLayoutId id="2147493563" r:id="rId16"/>
    <p:sldLayoutId id="2147493564" r:id="rId17"/>
    <p:sldLayoutId id="2147493565" r:id="rId18"/>
    <p:sldLayoutId id="2147493566" r:id="rId19"/>
    <p:sldLayoutId id="2147493567" r:id="rId20"/>
    <p:sldLayoutId id="2147493568" r:id="rId21"/>
    <p:sldLayoutId id="2147493569" r:id="rId22"/>
    <p:sldLayoutId id="2147493570" r:id="rId23"/>
    <p:sldLayoutId id="2147493571" r:id="rId24"/>
    <p:sldLayoutId id="2147493572" r:id="rId25"/>
    <p:sldLayoutId id="2147493573" r:id="rId26"/>
    <p:sldLayoutId id="2147493574" r:id="rId27"/>
    <p:sldLayoutId id="2147493575" r:id="rId28"/>
    <p:sldLayoutId id="2147493576" r:id="rId29"/>
    <p:sldLayoutId id="2147493577" r:id="rId30"/>
    <p:sldLayoutId id="2147493578" r:id="rId31"/>
    <p:sldLayoutId id="2147493579" r:id="rId32"/>
    <p:sldLayoutId id="2147493580" r:id="rId33"/>
    <p:sldLayoutId id="2147493581" r:id="rId34"/>
    <p:sldLayoutId id="2147493582" r:id="rId35"/>
    <p:sldLayoutId id="2147493583" r:id="rId36"/>
    <p:sldLayoutId id="2147493584" r:id="rId37"/>
    <p:sldLayoutId id="2147493585" r:id="rId38"/>
    <p:sldLayoutId id="2147493586" r:id="rId39"/>
    <p:sldLayoutId id="2147493587" r:id="rId40"/>
    <p:sldLayoutId id="2147493588" r:id="rId41"/>
    <p:sldLayoutId id="2147493589" r:id="rId42"/>
    <p:sldLayoutId id="2147493590" r:id="rId43"/>
    <p:sldLayoutId id="2147493591" r:id="rId44"/>
    <p:sldLayoutId id="2147493592" r:id="rId45"/>
    <p:sldLayoutId id="2147493593" r:id="rId46"/>
    <p:sldLayoutId id="2147493594" r:id="rId47"/>
    <p:sldLayoutId id="2147493595" r:id="rId48"/>
    <p:sldLayoutId id="2147493596" r:id="rId49"/>
    <p:sldLayoutId id="2147493597" r:id="rId50"/>
    <p:sldLayoutId id="2147493598" r:id="rId51"/>
    <p:sldLayoutId id="2147493599" r:id="rId52"/>
    <p:sldLayoutId id="2147493600" r:id="rId53"/>
    <p:sldLayoutId id="2147493601" r:id="rId54"/>
    <p:sldLayoutId id="2147493602" r:id="rId55"/>
    <p:sldLayoutId id="2147493603" r:id="rId56"/>
    <p:sldLayoutId id="2147493604" r:id="rId57"/>
    <p:sldLayoutId id="2147493605" r:id="rId58"/>
    <p:sldLayoutId id="2147493606" r:id="rId59"/>
    <p:sldLayoutId id="2147493607" r:id="rId60"/>
    <p:sldLayoutId id="2147493608" r:id="rId61"/>
    <p:sldLayoutId id="2147493609" r:id="rId62"/>
    <p:sldLayoutId id="2147493610" r:id="rId63"/>
    <p:sldLayoutId id="2147493611" r:id="rId64"/>
    <p:sldLayoutId id="2147493612" r:id="rId65"/>
    <p:sldLayoutId id="2147493613" r:id="rId66"/>
    <p:sldLayoutId id="2147493614" r:id="rId67"/>
    <p:sldLayoutId id="2147493615" r:id="rId68"/>
    <p:sldLayoutId id="2147493616" r:id="rId69"/>
    <p:sldLayoutId id="2147493617" r:id="rId70"/>
    <p:sldLayoutId id="2147493618" r:id="rId71"/>
    <p:sldLayoutId id="2147493619" r:id="rId72"/>
    <p:sldLayoutId id="2147493620"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 id="2147493622"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279.xml"/><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emf"/><Relationship Id="rId7" Type="http://schemas.openxmlformats.org/officeDocument/2006/relationships/image" Target="../media/image87.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86.emf"/><Relationship Id="rId5" Type="http://schemas.openxmlformats.org/officeDocument/2006/relationships/image" Target="../media/image85.emf"/><Relationship Id="rId10" Type="http://schemas.openxmlformats.org/officeDocument/2006/relationships/image" Target="../media/image90.emf"/><Relationship Id="rId4" Type="http://schemas.openxmlformats.org/officeDocument/2006/relationships/image" Target="../media/image84.emf"/><Relationship Id="rId9" Type="http://schemas.openxmlformats.org/officeDocument/2006/relationships/image" Target="../media/image89.emf"/></Relationships>
</file>

<file path=ppt/slides/_rels/slide5.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1.emf"/><Relationship Id="rId1" Type="http://schemas.openxmlformats.org/officeDocument/2006/relationships/slideLayout" Target="../slideLayouts/slideLayout279.xml"/><Relationship Id="rId5" Type="http://schemas.openxmlformats.org/officeDocument/2006/relationships/image" Target="../media/image94.emf"/><Relationship Id="rId4" Type="http://schemas.openxmlformats.org/officeDocument/2006/relationships/image" Target="../media/image93.emf"/></Relationships>
</file>

<file path=ppt/slides/_rels/slide6.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279.xml"/></Relationships>
</file>

<file path=ppt/slides/_rels/slide7.xml.rels><?xml version="1.0" encoding="UTF-8" standalone="yes"?>
<Relationships xmlns="http://schemas.openxmlformats.org/package/2006/relationships"><Relationship Id="rId8" Type="http://schemas.openxmlformats.org/officeDocument/2006/relationships/image" Target="../media/image102.emf"/><Relationship Id="rId3" Type="http://schemas.openxmlformats.org/officeDocument/2006/relationships/image" Target="../media/image97.emf"/><Relationship Id="rId7" Type="http://schemas.openxmlformats.org/officeDocument/2006/relationships/image" Target="../media/image101.emf"/><Relationship Id="rId2" Type="http://schemas.openxmlformats.org/officeDocument/2006/relationships/image" Target="../media/image96.emf"/><Relationship Id="rId1" Type="http://schemas.openxmlformats.org/officeDocument/2006/relationships/slideLayout" Target="../slideLayouts/slideLayout279.xml"/><Relationship Id="rId6" Type="http://schemas.openxmlformats.org/officeDocument/2006/relationships/image" Target="../media/image100.emf"/><Relationship Id="rId5" Type="http://schemas.openxmlformats.org/officeDocument/2006/relationships/image" Target="../media/image99.emf"/><Relationship Id="rId10" Type="http://schemas.openxmlformats.org/officeDocument/2006/relationships/image" Target="../media/image104.emf"/><Relationship Id="rId4" Type="http://schemas.openxmlformats.org/officeDocument/2006/relationships/image" Target="../media/image98.emf"/><Relationship Id="rId9" Type="http://schemas.openxmlformats.org/officeDocument/2006/relationships/image" Target="../media/image103.emf"/></Relationships>
</file>

<file path=ppt/slides/_rels/slide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279.xml"/></Relationships>
</file>

<file path=ppt/slides/_rels/slide9.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5.xml"/><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D4EEF675-3C65-4198-94D9-26BCB0A80BB5}"/>
              </a:ext>
            </a:extLst>
          </p:cNvPr>
          <p:cNvSpPr txBox="1"/>
          <p:nvPr/>
        </p:nvSpPr>
        <p:spPr>
          <a:xfrm>
            <a:off x="10674315" y="6632953"/>
            <a:ext cx="1219709" cy="153888"/>
          </a:xfrm>
          <a:prstGeom prst="rect">
            <a:avLst/>
          </a:prstGeom>
          <a:noFill/>
        </p:spPr>
        <p:txBody>
          <a:bodyPr wrap="square" lIns="0" tIns="0" rIns="0" bIns="0" rtlCol="0">
            <a:spAutoFit/>
          </a:bodyPr>
          <a:lstStyle/>
          <a:p>
            <a:pPr algn="l"/>
            <a:r>
              <a:rPr lang="en-US" sz="1000" dirty="0"/>
              <a:t>Version : 2022-08-10</a:t>
            </a:r>
          </a:p>
        </p:txBody>
      </p:sp>
    </p:spTree>
    <p:extLst>
      <p:ext uri="{BB962C8B-B14F-4D97-AF65-F5344CB8AC3E}">
        <p14:creationId xmlns:p14="http://schemas.microsoft.com/office/powerpoint/2010/main" val="17973080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198985" y="1490007"/>
            <a:ext cx="10171096" cy="3877985"/>
          </a:xfrm>
          <a:prstGeom prst="rect">
            <a:avLst/>
          </a:prstGeom>
          <a:noFill/>
        </p:spPr>
        <p:txBody>
          <a:bodyPr wrap="square" lIns="0" tIns="0" rIns="0" bIns="0" rtlCol="0">
            <a:spAutoFit/>
          </a:bodyPr>
          <a:lstStyle/>
          <a:p>
            <a:pPr algn="ctr"/>
            <a:r>
              <a:rPr lang="en-US" sz="3600" i="1" dirty="0"/>
              <a:t>Data Lifecycle Management (DLM) protects </a:t>
            </a:r>
          </a:p>
          <a:p>
            <a:pPr algn="ctr"/>
            <a:r>
              <a:rPr lang="en-US" sz="3600" i="1" dirty="0"/>
              <a:t>important data during its retention period</a:t>
            </a:r>
          </a:p>
          <a:p>
            <a:pPr algn="ctr"/>
            <a:r>
              <a:rPr lang="en-US" sz="3600" i="1" dirty="0"/>
              <a:t>It can also erase old data </a:t>
            </a:r>
          </a:p>
          <a:p>
            <a:pPr algn="ctr"/>
            <a:endParaRPr lang="en-US" sz="3600" i="1" dirty="0"/>
          </a:p>
          <a:p>
            <a:pPr algn="ctr"/>
            <a:r>
              <a:rPr lang="en-US" sz="3600" i="1" dirty="0"/>
              <a:t>Records Management extends DLM </a:t>
            </a:r>
          </a:p>
          <a:p>
            <a:pPr algn="ctr"/>
            <a:r>
              <a:rPr lang="en-US" sz="3600" i="1" dirty="0"/>
              <a:t>to prevent records updates or deletion</a:t>
            </a:r>
          </a:p>
          <a:p>
            <a:pPr algn="ctr"/>
            <a:endParaRPr lang="en-US" sz="3600" i="1" dirty="0"/>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ntext</a:t>
            </a:r>
          </a:p>
        </p:txBody>
      </p:sp>
      <p:pic>
        <p:nvPicPr>
          <p:cNvPr id="3" name="Picture 2">
            <a:extLst>
              <a:ext uri="{FF2B5EF4-FFF2-40B4-BE49-F238E27FC236}">
                <a16:creationId xmlns:a16="http://schemas.microsoft.com/office/drawing/2014/main" id="{11ECF5C9-F41B-977B-4259-AEB5F2353B79}"/>
              </a:ext>
            </a:extLst>
          </p:cNvPr>
          <p:cNvPicPr>
            <a:picLocks noChangeAspect="1"/>
          </p:cNvPicPr>
          <p:nvPr/>
        </p:nvPicPr>
        <p:blipFill>
          <a:blip r:embed="rId3"/>
          <a:stretch>
            <a:fillRect/>
          </a:stretch>
        </p:blipFill>
        <p:spPr>
          <a:xfrm>
            <a:off x="3881913" y="3325740"/>
            <a:ext cx="3869056" cy="2731770"/>
          </a:xfrm>
          <a:prstGeom prst="rect">
            <a:avLst/>
          </a:prstGeom>
        </p:spPr>
      </p:pic>
      <p:grpSp>
        <p:nvGrpSpPr>
          <p:cNvPr id="13" name="Group 12">
            <a:extLst>
              <a:ext uri="{FF2B5EF4-FFF2-40B4-BE49-F238E27FC236}">
                <a16:creationId xmlns:a16="http://schemas.microsoft.com/office/drawing/2014/main" id="{A0E4D322-DCD9-312E-CA0A-17996501A36B}"/>
              </a:ext>
            </a:extLst>
          </p:cNvPr>
          <p:cNvGrpSpPr/>
          <p:nvPr/>
        </p:nvGrpSpPr>
        <p:grpSpPr>
          <a:xfrm>
            <a:off x="1237707" y="490538"/>
            <a:ext cx="5915569" cy="434975"/>
            <a:chOff x="1237707" y="490538"/>
            <a:chExt cx="5915569" cy="434975"/>
          </a:xfrm>
        </p:grpSpPr>
        <p:sp>
          <p:nvSpPr>
            <p:cNvPr id="97" name="Freeform 70">
              <a:extLst>
                <a:ext uri="{FF2B5EF4-FFF2-40B4-BE49-F238E27FC236}">
                  <a16:creationId xmlns:a16="http://schemas.microsoft.com/office/drawing/2014/main" id="{CB615FBA-10D8-4B3D-8F79-F013681FA95C}"/>
                </a:ext>
              </a:extLst>
            </p:cNvPr>
            <p:cNvSpPr>
              <a:spLocks/>
            </p:cNvSpPr>
            <p:nvPr/>
          </p:nvSpPr>
          <p:spPr bwMode="auto">
            <a:xfrm>
              <a:off x="5435600" y="490538"/>
              <a:ext cx="1155700"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2"/>
                  </a:cubicBezTo>
                  <a:lnTo>
                    <a:pt x="3232" y="323"/>
                  </a:lnTo>
                  <a:cubicBezTo>
                    <a:pt x="3232" y="144"/>
                    <a:pt x="3087" y="0"/>
                    <a:pt x="2909" y="0"/>
                  </a:cubicBezTo>
                  <a:lnTo>
                    <a:pt x="323" y="0"/>
                  </a:lnTo>
                  <a:cubicBezTo>
                    <a:pt x="145" y="0"/>
                    <a:pt x="0" y="144"/>
                    <a:pt x="0" y="323"/>
                  </a:cubicBezTo>
                  <a:lnTo>
                    <a:pt x="0" y="892"/>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71">
              <a:extLst>
                <a:ext uri="{FF2B5EF4-FFF2-40B4-BE49-F238E27FC236}">
                  <a16:creationId xmlns:a16="http://schemas.microsoft.com/office/drawing/2014/main" id="{FAB07272-0E42-4BB3-BCA3-BBF1EAC3E3C6}"/>
                </a:ext>
              </a:extLst>
            </p:cNvPr>
            <p:cNvSpPr>
              <a:spLocks/>
            </p:cNvSpPr>
            <p:nvPr/>
          </p:nvSpPr>
          <p:spPr bwMode="auto">
            <a:xfrm>
              <a:off x="5435600" y="490538"/>
              <a:ext cx="1155700"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2"/>
                  </a:cubicBezTo>
                  <a:lnTo>
                    <a:pt x="3232" y="323"/>
                  </a:lnTo>
                  <a:cubicBezTo>
                    <a:pt x="3232" y="144"/>
                    <a:pt x="3087" y="0"/>
                    <a:pt x="2909" y="0"/>
                  </a:cubicBezTo>
                  <a:lnTo>
                    <a:pt x="323" y="0"/>
                  </a:lnTo>
                  <a:cubicBezTo>
                    <a:pt x="145" y="0"/>
                    <a:pt x="0" y="144"/>
                    <a:pt x="0" y="323"/>
                  </a:cubicBezTo>
                  <a:lnTo>
                    <a:pt x="0" y="892"/>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Rectangle 72">
              <a:extLst>
                <a:ext uri="{FF2B5EF4-FFF2-40B4-BE49-F238E27FC236}">
                  <a16:creationId xmlns:a16="http://schemas.microsoft.com/office/drawing/2014/main" id="{6D0A27D3-1B36-41C4-967F-FF02BC3DD28A}"/>
                </a:ext>
              </a:extLst>
            </p:cNvPr>
            <p:cNvSpPr>
              <a:spLocks noChangeArrowheads="1"/>
            </p:cNvSpPr>
            <p:nvPr/>
          </p:nvSpPr>
          <p:spPr bwMode="auto">
            <a:xfrm>
              <a:off x="5678488" y="538163"/>
              <a:ext cx="7826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Retention &amp;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0" name="Rectangle 73">
              <a:extLst>
                <a:ext uri="{FF2B5EF4-FFF2-40B4-BE49-F238E27FC236}">
                  <a16:creationId xmlns:a16="http://schemas.microsoft.com/office/drawing/2014/main" id="{72DC5E39-62D8-4955-A2A9-571784810B82}"/>
                </a:ext>
              </a:extLst>
            </p:cNvPr>
            <p:cNvSpPr>
              <a:spLocks noChangeArrowheads="1"/>
            </p:cNvSpPr>
            <p:nvPr/>
          </p:nvSpPr>
          <p:spPr bwMode="auto">
            <a:xfrm>
              <a:off x="5540375" y="704850"/>
              <a:ext cx="1030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Deletion 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4" name="Rectangle 77">
              <a:extLst>
                <a:ext uri="{FF2B5EF4-FFF2-40B4-BE49-F238E27FC236}">
                  <a16:creationId xmlns:a16="http://schemas.microsoft.com/office/drawing/2014/main" id="{66ED543D-B50E-4920-90D8-BB5E682970DA}"/>
                </a:ext>
              </a:extLst>
            </p:cNvPr>
            <p:cNvSpPr>
              <a:spLocks noChangeArrowheads="1"/>
            </p:cNvSpPr>
            <p:nvPr/>
          </p:nvSpPr>
          <p:spPr bwMode="auto">
            <a:xfrm>
              <a:off x="6672263" y="549275"/>
              <a:ext cx="4127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Segoe UI" panose="020B0502040204020203"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Rectangle 78">
              <a:extLst>
                <a:ext uri="{FF2B5EF4-FFF2-40B4-BE49-F238E27FC236}">
                  <a16:creationId xmlns:a16="http://schemas.microsoft.com/office/drawing/2014/main" id="{C2E5FE47-AFD5-4192-9A0B-10A38C935E91}"/>
                </a:ext>
              </a:extLst>
            </p:cNvPr>
            <p:cNvSpPr>
              <a:spLocks noChangeArrowheads="1"/>
            </p:cNvSpPr>
            <p:nvPr/>
          </p:nvSpPr>
          <p:spPr bwMode="auto">
            <a:xfrm>
              <a:off x="6672263" y="695325"/>
              <a:ext cx="4810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35A1B710-D79A-DE89-207E-708508B292C9}"/>
                </a:ext>
              </a:extLst>
            </p:cNvPr>
            <p:cNvSpPr txBox="1"/>
            <p:nvPr/>
          </p:nvSpPr>
          <p:spPr>
            <a:xfrm>
              <a:off x="1237707" y="538163"/>
              <a:ext cx="1354538"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Definition</a:t>
              </a:r>
            </a:p>
          </p:txBody>
        </p:sp>
      </p:grpSp>
      <p:grpSp>
        <p:nvGrpSpPr>
          <p:cNvPr id="11" name="Group 10">
            <a:extLst>
              <a:ext uri="{FF2B5EF4-FFF2-40B4-BE49-F238E27FC236}">
                <a16:creationId xmlns:a16="http://schemas.microsoft.com/office/drawing/2014/main" id="{B1151820-05D8-AA6D-5ED1-8BC784FE8EFF}"/>
              </a:ext>
            </a:extLst>
          </p:cNvPr>
          <p:cNvGrpSpPr/>
          <p:nvPr/>
        </p:nvGrpSpPr>
        <p:grpSpPr>
          <a:xfrm>
            <a:off x="1176793" y="1587500"/>
            <a:ext cx="8762545" cy="1239838"/>
            <a:chOff x="1176793" y="1587500"/>
            <a:chExt cx="8762545" cy="1239838"/>
          </a:xfrm>
        </p:grpSpPr>
        <p:grpSp>
          <p:nvGrpSpPr>
            <p:cNvPr id="141" name="Group 140">
              <a:extLst>
                <a:ext uri="{FF2B5EF4-FFF2-40B4-BE49-F238E27FC236}">
                  <a16:creationId xmlns:a16="http://schemas.microsoft.com/office/drawing/2014/main" id="{18338E44-A85A-4156-B972-9A87091319A8}"/>
                </a:ext>
              </a:extLst>
            </p:cNvPr>
            <p:cNvGrpSpPr/>
            <p:nvPr/>
          </p:nvGrpSpPr>
          <p:grpSpPr>
            <a:xfrm>
              <a:off x="3671888" y="1587500"/>
              <a:ext cx="6267450" cy="1239838"/>
              <a:chOff x="3671888" y="1587500"/>
              <a:chExt cx="6267450" cy="1239838"/>
            </a:xfrm>
          </p:grpSpPr>
          <p:sp>
            <p:nvSpPr>
              <p:cNvPr id="79" name="Freeform 52">
                <a:extLst>
                  <a:ext uri="{FF2B5EF4-FFF2-40B4-BE49-F238E27FC236}">
                    <a16:creationId xmlns:a16="http://schemas.microsoft.com/office/drawing/2014/main" id="{B10183A8-FBD0-4604-B6AE-E010960117AF}"/>
                  </a:ext>
                </a:extLst>
              </p:cNvPr>
              <p:cNvSpPr>
                <a:spLocks/>
              </p:cNvSpPr>
              <p:nvPr/>
            </p:nvSpPr>
            <p:spPr bwMode="auto">
              <a:xfrm>
                <a:off x="367188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53">
                <a:extLst>
                  <a:ext uri="{FF2B5EF4-FFF2-40B4-BE49-F238E27FC236}">
                    <a16:creationId xmlns:a16="http://schemas.microsoft.com/office/drawing/2014/main" id="{59BCA94D-4B6D-4907-8896-5890B09D7A17}"/>
                  </a:ext>
                </a:extLst>
              </p:cNvPr>
              <p:cNvSpPr>
                <a:spLocks/>
              </p:cNvSpPr>
              <p:nvPr/>
            </p:nvSpPr>
            <p:spPr bwMode="auto">
              <a:xfrm>
                <a:off x="367188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Rectangle 54">
                <a:extLst>
                  <a:ext uri="{FF2B5EF4-FFF2-40B4-BE49-F238E27FC236}">
                    <a16:creationId xmlns:a16="http://schemas.microsoft.com/office/drawing/2014/main" id="{9120514C-9EA7-4868-A967-B049AEBF48DA}"/>
                  </a:ext>
                </a:extLst>
              </p:cNvPr>
              <p:cNvSpPr>
                <a:spLocks noChangeArrowheads="1"/>
              </p:cNvSpPr>
              <p:nvPr/>
            </p:nvSpPr>
            <p:spPr bwMode="auto">
              <a:xfrm>
                <a:off x="3976688" y="1949450"/>
                <a:ext cx="623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Freeform 55">
                <a:extLst>
                  <a:ext uri="{FF2B5EF4-FFF2-40B4-BE49-F238E27FC236}">
                    <a16:creationId xmlns:a16="http://schemas.microsoft.com/office/drawing/2014/main" id="{C0733CBA-DCF5-49BF-B36C-FA1FA56993D9}"/>
                  </a:ext>
                </a:extLst>
              </p:cNvPr>
              <p:cNvSpPr>
                <a:spLocks/>
              </p:cNvSpPr>
              <p:nvPr/>
            </p:nvSpPr>
            <p:spPr bwMode="auto">
              <a:xfrm>
                <a:off x="5402263"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56">
                <a:extLst>
                  <a:ext uri="{FF2B5EF4-FFF2-40B4-BE49-F238E27FC236}">
                    <a16:creationId xmlns:a16="http://schemas.microsoft.com/office/drawing/2014/main" id="{E1624FB5-AFF4-4F19-90F0-55DAE12A204C}"/>
                  </a:ext>
                </a:extLst>
              </p:cNvPr>
              <p:cNvSpPr>
                <a:spLocks/>
              </p:cNvSpPr>
              <p:nvPr/>
            </p:nvSpPr>
            <p:spPr bwMode="auto">
              <a:xfrm>
                <a:off x="5402263"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Rectangle 57">
                <a:extLst>
                  <a:ext uri="{FF2B5EF4-FFF2-40B4-BE49-F238E27FC236}">
                    <a16:creationId xmlns:a16="http://schemas.microsoft.com/office/drawing/2014/main" id="{B13CB41B-383E-431E-AEA8-C9918DA2869E}"/>
                  </a:ext>
                </a:extLst>
              </p:cNvPr>
              <p:cNvSpPr>
                <a:spLocks noChangeArrowheads="1"/>
              </p:cNvSpPr>
              <p:nvPr/>
            </p:nvSpPr>
            <p:spPr bwMode="auto">
              <a:xfrm>
                <a:off x="5672138" y="1865313"/>
                <a:ext cx="698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Disposi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5" name="Rectangle 58">
                <a:extLst>
                  <a:ext uri="{FF2B5EF4-FFF2-40B4-BE49-F238E27FC236}">
                    <a16:creationId xmlns:a16="http://schemas.microsoft.com/office/drawing/2014/main" id="{DB0FAA03-82BB-4CD4-867A-0DA1C84E6BA2}"/>
                  </a:ext>
                </a:extLst>
              </p:cNvPr>
              <p:cNvSpPr>
                <a:spLocks noChangeArrowheads="1"/>
              </p:cNvSpPr>
              <p:nvPr/>
            </p:nvSpPr>
            <p:spPr bwMode="auto">
              <a:xfrm>
                <a:off x="5781675" y="2032000"/>
                <a:ext cx="474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Revie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 name="Freeform 59">
                <a:extLst>
                  <a:ext uri="{FF2B5EF4-FFF2-40B4-BE49-F238E27FC236}">
                    <a16:creationId xmlns:a16="http://schemas.microsoft.com/office/drawing/2014/main" id="{598075B4-B369-4DEF-AA3C-8D8D3A855AC6}"/>
                  </a:ext>
                </a:extLst>
              </p:cNvPr>
              <p:cNvSpPr>
                <a:spLocks/>
              </p:cNvSpPr>
              <p:nvPr/>
            </p:nvSpPr>
            <p:spPr bwMode="auto">
              <a:xfrm>
                <a:off x="713263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60">
                <a:extLst>
                  <a:ext uri="{FF2B5EF4-FFF2-40B4-BE49-F238E27FC236}">
                    <a16:creationId xmlns:a16="http://schemas.microsoft.com/office/drawing/2014/main" id="{20796B8B-46BF-4032-AEB9-5480FFFAEDC7}"/>
                  </a:ext>
                </a:extLst>
              </p:cNvPr>
              <p:cNvSpPr>
                <a:spLocks/>
              </p:cNvSpPr>
              <p:nvPr/>
            </p:nvSpPr>
            <p:spPr bwMode="auto">
              <a:xfrm>
                <a:off x="713263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Rectangle 61">
                <a:extLst>
                  <a:ext uri="{FF2B5EF4-FFF2-40B4-BE49-F238E27FC236}">
                    <a16:creationId xmlns:a16="http://schemas.microsoft.com/office/drawing/2014/main" id="{56470164-C09E-46B1-8CD8-9FE3E7087952}"/>
                  </a:ext>
                </a:extLst>
              </p:cNvPr>
              <p:cNvSpPr>
                <a:spLocks noChangeArrowheads="1"/>
              </p:cNvSpPr>
              <p:nvPr/>
            </p:nvSpPr>
            <p:spPr bwMode="auto">
              <a:xfrm>
                <a:off x="7477125" y="1949450"/>
                <a:ext cx="5476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Dele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9" name="Freeform 62">
                <a:extLst>
                  <a:ext uri="{FF2B5EF4-FFF2-40B4-BE49-F238E27FC236}">
                    <a16:creationId xmlns:a16="http://schemas.microsoft.com/office/drawing/2014/main" id="{79BBA44E-595D-427A-9F6E-794C215851C0}"/>
                  </a:ext>
                </a:extLst>
              </p:cNvPr>
              <p:cNvSpPr>
                <a:spLocks noEditPoints="1"/>
              </p:cNvSpPr>
              <p:nvPr/>
            </p:nvSpPr>
            <p:spPr bwMode="auto">
              <a:xfrm>
                <a:off x="4822825" y="2028825"/>
                <a:ext cx="503238" cy="12700"/>
              </a:xfrm>
              <a:custGeom>
                <a:avLst/>
                <a:gdLst>
                  <a:gd name="T0" fmla="*/ 16 w 1408"/>
                  <a:gd name="T1" fmla="*/ 0 h 32"/>
                  <a:gd name="T2" fmla="*/ 240 w 1408"/>
                  <a:gd name="T3" fmla="*/ 0 h 32"/>
                  <a:gd name="T4" fmla="*/ 256 w 1408"/>
                  <a:gd name="T5" fmla="*/ 16 h 32"/>
                  <a:gd name="T6" fmla="*/ 240 w 1408"/>
                  <a:gd name="T7" fmla="*/ 32 h 32"/>
                  <a:gd name="T8" fmla="*/ 16 w 1408"/>
                  <a:gd name="T9" fmla="*/ 32 h 32"/>
                  <a:gd name="T10" fmla="*/ 0 w 1408"/>
                  <a:gd name="T11" fmla="*/ 16 h 32"/>
                  <a:gd name="T12" fmla="*/ 16 w 1408"/>
                  <a:gd name="T13" fmla="*/ 0 h 32"/>
                  <a:gd name="T14" fmla="*/ 400 w 1408"/>
                  <a:gd name="T15" fmla="*/ 0 h 32"/>
                  <a:gd name="T16" fmla="*/ 624 w 1408"/>
                  <a:gd name="T17" fmla="*/ 0 h 32"/>
                  <a:gd name="T18" fmla="*/ 640 w 1408"/>
                  <a:gd name="T19" fmla="*/ 16 h 32"/>
                  <a:gd name="T20" fmla="*/ 624 w 1408"/>
                  <a:gd name="T21" fmla="*/ 32 h 32"/>
                  <a:gd name="T22" fmla="*/ 400 w 1408"/>
                  <a:gd name="T23" fmla="*/ 32 h 32"/>
                  <a:gd name="T24" fmla="*/ 384 w 1408"/>
                  <a:gd name="T25" fmla="*/ 16 h 32"/>
                  <a:gd name="T26" fmla="*/ 400 w 1408"/>
                  <a:gd name="T27" fmla="*/ 0 h 32"/>
                  <a:gd name="T28" fmla="*/ 784 w 1408"/>
                  <a:gd name="T29" fmla="*/ 0 h 32"/>
                  <a:gd name="T30" fmla="*/ 1008 w 1408"/>
                  <a:gd name="T31" fmla="*/ 0 h 32"/>
                  <a:gd name="T32" fmla="*/ 1024 w 1408"/>
                  <a:gd name="T33" fmla="*/ 16 h 32"/>
                  <a:gd name="T34" fmla="*/ 1008 w 1408"/>
                  <a:gd name="T35" fmla="*/ 32 h 32"/>
                  <a:gd name="T36" fmla="*/ 784 w 1408"/>
                  <a:gd name="T37" fmla="*/ 32 h 32"/>
                  <a:gd name="T38" fmla="*/ 768 w 1408"/>
                  <a:gd name="T39" fmla="*/ 16 h 32"/>
                  <a:gd name="T40" fmla="*/ 784 w 1408"/>
                  <a:gd name="T41" fmla="*/ 0 h 32"/>
                  <a:gd name="T42" fmla="*/ 1168 w 1408"/>
                  <a:gd name="T43" fmla="*/ 0 h 32"/>
                  <a:gd name="T44" fmla="*/ 1392 w 1408"/>
                  <a:gd name="T45" fmla="*/ 0 h 32"/>
                  <a:gd name="T46" fmla="*/ 1408 w 1408"/>
                  <a:gd name="T47" fmla="*/ 16 h 32"/>
                  <a:gd name="T48" fmla="*/ 1392 w 1408"/>
                  <a:gd name="T49" fmla="*/ 32 h 32"/>
                  <a:gd name="T50" fmla="*/ 1168 w 1408"/>
                  <a:gd name="T51" fmla="*/ 32 h 32"/>
                  <a:gd name="T52" fmla="*/ 1152 w 1408"/>
                  <a:gd name="T53" fmla="*/ 16 h 32"/>
                  <a:gd name="T54" fmla="*/ 1168 w 1408"/>
                  <a:gd name="T5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08" h="32">
                    <a:moveTo>
                      <a:pt x="16" y="0"/>
                    </a:moveTo>
                    <a:lnTo>
                      <a:pt x="240" y="0"/>
                    </a:lnTo>
                    <a:cubicBezTo>
                      <a:pt x="249" y="0"/>
                      <a:pt x="256" y="7"/>
                      <a:pt x="256" y="16"/>
                    </a:cubicBezTo>
                    <a:cubicBezTo>
                      <a:pt x="256" y="25"/>
                      <a:pt x="249" y="32"/>
                      <a:pt x="240" y="32"/>
                    </a:cubicBezTo>
                    <a:lnTo>
                      <a:pt x="16" y="32"/>
                    </a:lnTo>
                    <a:cubicBezTo>
                      <a:pt x="7" y="32"/>
                      <a:pt x="0" y="25"/>
                      <a:pt x="0" y="16"/>
                    </a:cubicBezTo>
                    <a:cubicBezTo>
                      <a:pt x="0" y="7"/>
                      <a:pt x="7" y="0"/>
                      <a:pt x="16" y="0"/>
                    </a:cubicBezTo>
                    <a:close/>
                    <a:moveTo>
                      <a:pt x="400" y="0"/>
                    </a:moveTo>
                    <a:lnTo>
                      <a:pt x="624" y="0"/>
                    </a:lnTo>
                    <a:cubicBezTo>
                      <a:pt x="633" y="0"/>
                      <a:pt x="640" y="7"/>
                      <a:pt x="640" y="16"/>
                    </a:cubicBezTo>
                    <a:cubicBezTo>
                      <a:pt x="640" y="25"/>
                      <a:pt x="633" y="32"/>
                      <a:pt x="624" y="32"/>
                    </a:cubicBezTo>
                    <a:lnTo>
                      <a:pt x="400" y="32"/>
                    </a:lnTo>
                    <a:cubicBezTo>
                      <a:pt x="391" y="32"/>
                      <a:pt x="384" y="25"/>
                      <a:pt x="384" y="16"/>
                    </a:cubicBezTo>
                    <a:cubicBezTo>
                      <a:pt x="384" y="7"/>
                      <a:pt x="391" y="0"/>
                      <a:pt x="400" y="0"/>
                    </a:cubicBezTo>
                    <a:close/>
                    <a:moveTo>
                      <a:pt x="784" y="0"/>
                    </a:moveTo>
                    <a:lnTo>
                      <a:pt x="1008" y="0"/>
                    </a:lnTo>
                    <a:cubicBezTo>
                      <a:pt x="1017" y="0"/>
                      <a:pt x="1024" y="7"/>
                      <a:pt x="1024" y="16"/>
                    </a:cubicBezTo>
                    <a:cubicBezTo>
                      <a:pt x="1024" y="25"/>
                      <a:pt x="1017" y="32"/>
                      <a:pt x="1008" y="32"/>
                    </a:cubicBezTo>
                    <a:lnTo>
                      <a:pt x="784" y="32"/>
                    </a:lnTo>
                    <a:cubicBezTo>
                      <a:pt x="775" y="32"/>
                      <a:pt x="768" y="25"/>
                      <a:pt x="768" y="16"/>
                    </a:cubicBezTo>
                    <a:cubicBezTo>
                      <a:pt x="768" y="7"/>
                      <a:pt x="775" y="0"/>
                      <a:pt x="784" y="0"/>
                    </a:cubicBezTo>
                    <a:close/>
                    <a:moveTo>
                      <a:pt x="1168" y="0"/>
                    </a:moveTo>
                    <a:lnTo>
                      <a:pt x="1392" y="0"/>
                    </a:lnTo>
                    <a:cubicBezTo>
                      <a:pt x="1401" y="0"/>
                      <a:pt x="1408" y="7"/>
                      <a:pt x="1408" y="16"/>
                    </a:cubicBezTo>
                    <a:cubicBezTo>
                      <a:pt x="1408" y="25"/>
                      <a:pt x="1401" y="32"/>
                      <a:pt x="1392" y="32"/>
                    </a:cubicBezTo>
                    <a:lnTo>
                      <a:pt x="1168" y="32"/>
                    </a:lnTo>
                    <a:cubicBezTo>
                      <a:pt x="1159" y="32"/>
                      <a:pt x="1152" y="25"/>
                      <a:pt x="1152" y="16"/>
                    </a:cubicBezTo>
                    <a:cubicBezTo>
                      <a:pt x="1152" y="7"/>
                      <a:pt x="1159" y="0"/>
                      <a:pt x="116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3">
                <a:extLst>
                  <a:ext uri="{FF2B5EF4-FFF2-40B4-BE49-F238E27FC236}">
                    <a16:creationId xmlns:a16="http://schemas.microsoft.com/office/drawing/2014/main" id="{3EB48291-E2C6-4EC0-89D9-5F41CF8EDE19}"/>
                  </a:ext>
                </a:extLst>
              </p:cNvPr>
              <p:cNvSpPr>
                <a:spLocks/>
              </p:cNvSpPr>
              <p:nvPr/>
            </p:nvSpPr>
            <p:spPr bwMode="auto">
              <a:xfrm>
                <a:off x="5303838" y="1985963"/>
                <a:ext cx="98425" cy="98425"/>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64">
                <a:extLst>
                  <a:ext uri="{FF2B5EF4-FFF2-40B4-BE49-F238E27FC236}">
                    <a16:creationId xmlns:a16="http://schemas.microsoft.com/office/drawing/2014/main" id="{37A57919-6D2C-4F83-9173-7704E4194C43}"/>
                  </a:ext>
                </a:extLst>
              </p:cNvPr>
              <p:cNvSpPr>
                <a:spLocks noEditPoints="1"/>
              </p:cNvSpPr>
              <p:nvPr/>
            </p:nvSpPr>
            <p:spPr bwMode="auto">
              <a:xfrm>
                <a:off x="6553200" y="2028825"/>
                <a:ext cx="503238" cy="12700"/>
              </a:xfrm>
              <a:custGeom>
                <a:avLst/>
                <a:gdLst>
                  <a:gd name="T0" fmla="*/ 16 w 1408"/>
                  <a:gd name="T1" fmla="*/ 0 h 32"/>
                  <a:gd name="T2" fmla="*/ 240 w 1408"/>
                  <a:gd name="T3" fmla="*/ 0 h 32"/>
                  <a:gd name="T4" fmla="*/ 256 w 1408"/>
                  <a:gd name="T5" fmla="*/ 16 h 32"/>
                  <a:gd name="T6" fmla="*/ 240 w 1408"/>
                  <a:gd name="T7" fmla="*/ 32 h 32"/>
                  <a:gd name="T8" fmla="*/ 16 w 1408"/>
                  <a:gd name="T9" fmla="*/ 32 h 32"/>
                  <a:gd name="T10" fmla="*/ 0 w 1408"/>
                  <a:gd name="T11" fmla="*/ 16 h 32"/>
                  <a:gd name="T12" fmla="*/ 16 w 1408"/>
                  <a:gd name="T13" fmla="*/ 0 h 32"/>
                  <a:gd name="T14" fmla="*/ 400 w 1408"/>
                  <a:gd name="T15" fmla="*/ 0 h 32"/>
                  <a:gd name="T16" fmla="*/ 624 w 1408"/>
                  <a:gd name="T17" fmla="*/ 0 h 32"/>
                  <a:gd name="T18" fmla="*/ 640 w 1408"/>
                  <a:gd name="T19" fmla="*/ 16 h 32"/>
                  <a:gd name="T20" fmla="*/ 624 w 1408"/>
                  <a:gd name="T21" fmla="*/ 32 h 32"/>
                  <a:gd name="T22" fmla="*/ 400 w 1408"/>
                  <a:gd name="T23" fmla="*/ 32 h 32"/>
                  <a:gd name="T24" fmla="*/ 384 w 1408"/>
                  <a:gd name="T25" fmla="*/ 16 h 32"/>
                  <a:gd name="T26" fmla="*/ 400 w 1408"/>
                  <a:gd name="T27" fmla="*/ 0 h 32"/>
                  <a:gd name="T28" fmla="*/ 784 w 1408"/>
                  <a:gd name="T29" fmla="*/ 0 h 32"/>
                  <a:gd name="T30" fmla="*/ 1008 w 1408"/>
                  <a:gd name="T31" fmla="*/ 0 h 32"/>
                  <a:gd name="T32" fmla="*/ 1024 w 1408"/>
                  <a:gd name="T33" fmla="*/ 16 h 32"/>
                  <a:gd name="T34" fmla="*/ 1008 w 1408"/>
                  <a:gd name="T35" fmla="*/ 32 h 32"/>
                  <a:gd name="T36" fmla="*/ 784 w 1408"/>
                  <a:gd name="T37" fmla="*/ 32 h 32"/>
                  <a:gd name="T38" fmla="*/ 768 w 1408"/>
                  <a:gd name="T39" fmla="*/ 16 h 32"/>
                  <a:gd name="T40" fmla="*/ 784 w 1408"/>
                  <a:gd name="T41" fmla="*/ 0 h 32"/>
                  <a:gd name="T42" fmla="*/ 1168 w 1408"/>
                  <a:gd name="T43" fmla="*/ 0 h 32"/>
                  <a:gd name="T44" fmla="*/ 1392 w 1408"/>
                  <a:gd name="T45" fmla="*/ 0 h 32"/>
                  <a:gd name="T46" fmla="*/ 1408 w 1408"/>
                  <a:gd name="T47" fmla="*/ 16 h 32"/>
                  <a:gd name="T48" fmla="*/ 1392 w 1408"/>
                  <a:gd name="T49" fmla="*/ 32 h 32"/>
                  <a:gd name="T50" fmla="*/ 1168 w 1408"/>
                  <a:gd name="T51" fmla="*/ 32 h 32"/>
                  <a:gd name="T52" fmla="*/ 1152 w 1408"/>
                  <a:gd name="T53" fmla="*/ 16 h 32"/>
                  <a:gd name="T54" fmla="*/ 1168 w 1408"/>
                  <a:gd name="T5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08" h="32">
                    <a:moveTo>
                      <a:pt x="16" y="0"/>
                    </a:moveTo>
                    <a:lnTo>
                      <a:pt x="240" y="0"/>
                    </a:lnTo>
                    <a:cubicBezTo>
                      <a:pt x="249" y="0"/>
                      <a:pt x="256" y="7"/>
                      <a:pt x="256" y="16"/>
                    </a:cubicBezTo>
                    <a:cubicBezTo>
                      <a:pt x="256" y="25"/>
                      <a:pt x="249" y="32"/>
                      <a:pt x="240" y="32"/>
                    </a:cubicBezTo>
                    <a:lnTo>
                      <a:pt x="16" y="32"/>
                    </a:lnTo>
                    <a:cubicBezTo>
                      <a:pt x="7" y="32"/>
                      <a:pt x="0" y="25"/>
                      <a:pt x="0" y="16"/>
                    </a:cubicBezTo>
                    <a:cubicBezTo>
                      <a:pt x="0" y="7"/>
                      <a:pt x="7" y="0"/>
                      <a:pt x="16" y="0"/>
                    </a:cubicBezTo>
                    <a:close/>
                    <a:moveTo>
                      <a:pt x="400" y="0"/>
                    </a:moveTo>
                    <a:lnTo>
                      <a:pt x="624" y="0"/>
                    </a:lnTo>
                    <a:cubicBezTo>
                      <a:pt x="633" y="0"/>
                      <a:pt x="640" y="7"/>
                      <a:pt x="640" y="16"/>
                    </a:cubicBezTo>
                    <a:cubicBezTo>
                      <a:pt x="640" y="25"/>
                      <a:pt x="633" y="32"/>
                      <a:pt x="624" y="32"/>
                    </a:cubicBezTo>
                    <a:lnTo>
                      <a:pt x="400" y="32"/>
                    </a:lnTo>
                    <a:cubicBezTo>
                      <a:pt x="391" y="32"/>
                      <a:pt x="384" y="25"/>
                      <a:pt x="384" y="16"/>
                    </a:cubicBezTo>
                    <a:cubicBezTo>
                      <a:pt x="384" y="7"/>
                      <a:pt x="391" y="0"/>
                      <a:pt x="400" y="0"/>
                    </a:cubicBezTo>
                    <a:close/>
                    <a:moveTo>
                      <a:pt x="784" y="0"/>
                    </a:moveTo>
                    <a:lnTo>
                      <a:pt x="1008" y="0"/>
                    </a:lnTo>
                    <a:cubicBezTo>
                      <a:pt x="1017" y="0"/>
                      <a:pt x="1024" y="7"/>
                      <a:pt x="1024" y="16"/>
                    </a:cubicBezTo>
                    <a:cubicBezTo>
                      <a:pt x="1024" y="25"/>
                      <a:pt x="1017" y="32"/>
                      <a:pt x="1008" y="32"/>
                    </a:cubicBezTo>
                    <a:lnTo>
                      <a:pt x="784" y="32"/>
                    </a:lnTo>
                    <a:cubicBezTo>
                      <a:pt x="775" y="32"/>
                      <a:pt x="768" y="25"/>
                      <a:pt x="768" y="16"/>
                    </a:cubicBezTo>
                    <a:cubicBezTo>
                      <a:pt x="768" y="7"/>
                      <a:pt x="775" y="0"/>
                      <a:pt x="784" y="0"/>
                    </a:cubicBezTo>
                    <a:close/>
                    <a:moveTo>
                      <a:pt x="1168" y="0"/>
                    </a:moveTo>
                    <a:lnTo>
                      <a:pt x="1392" y="0"/>
                    </a:lnTo>
                    <a:cubicBezTo>
                      <a:pt x="1401" y="0"/>
                      <a:pt x="1408" y="7"/>
                      <a:pt x="1408" y="16"/>
                    </a:cubicBezTo>
                    <a:cubicBezTo>
                      <a:pt x="1408" y="25"/>
                      <a:pt x="1401" y="32"/>
                      <a:pt x="1392" y="32"/>
                    </a:cubicBezTo>
                    <a:lnTo>
                      <a:pt x="1168" y="32"/>
                    </a:lnTo>
                    <a:cubicBezTo>
                      <a:pt x="1159" y="32"/>
                      <a:pt x="1152" y="25"/>
                      <a:pt x="1152" y="16"/>
                    </a:cubicBezTo>
                    <a:cubicBezTo>
                      <a:pt x="1152" y="7"/>
                      <a:pt x="1159" y="0"/>
                      <a:pt x="116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65">
                <a:extLst>
                  <a:ext uri="{FF2B5EF4-FFF2-40B4-BE49-F238E27FC236}">
                    <a16:creationId xmlns:a16="http://schemas.microsoft.com/office/drawing/2014/main" id="{C883BD25-53D7-463C-ACA4-5E2FA84F412B}"/>
                  </a:ext>
                </a:extLst>
              </p:cNvPr>
              <p:cNvSpPr>
                <a:spLocks/>
              </p:cNvSpPr>
              <p:nvPr/>
            </p:nvSpPr>
            <p:spPr bwMode="auto">
              <a:xfrm>
                <a:off x="7034213" y="1985963"/>
                <a:ext cx="98425" cy="98425"/>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Rectangle 74">
                <a:extLst>
                  <a:ext uri="{FF2B5EF4-FFF2-40B4-BE49-F238E27FC236}">
                    <a16:creationId xmlns:a16="http://schemas.microsoft.com/office/drawing/2014/main" id="{BBADD492-932E-44AB-BF07-67FC0881130F}"/>
                  </a:ext>
                </a:extLst>
              </p:cNvPr>
              <p:cNvSpPr>
                <a:spLocks noChangeArrowheads="1"/>
              </p:cNvSpPr>
              <p:nvPr/>
            </p:nvSpPr>
            <p:spPr bwMode="auto">
              <a:xfrm>
                <a:off x="3675063" y="2338388"/>
                <a:ext cx="2928938"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The phases can be mixed or managed independentl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 name="Rectangle 75">
                <a:extLst>
                  <a:ext uri="{FF2B5EF4-FFF2-40B4-BE49-F238E27FC236}">
                    <a16:creationId xmlns:a16="http://schemas.microsoft.com/office/drawing/2014/main" id="{8EC26D02-5439-4A8F-AD8D-3F583969DB3B}"/>
                  </a:ext>
                </a:extLst>
              </p:cNvPr>
              <p:cNvSpPr>
                <a:spLocks noChangeArrowheads="1"/>
              </p:cNvSpPr>
              <p:nvPr/>
            </p:nvSpPr>
            <p:spPr bwMode="auto">
              <a:xfrm>
                <a:off x="3675063" y="2484438"/>
                <a:ext cx="55086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Examples : you may retain files at least for 3 years, then let the users delete then whenever they wa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3" name="Rectangle 76">
                <a:extLst>
                  <a:ext uri="{FF2B5EF4-FFF2-40B4-BE49-F238E27FC236}">
                    <a16:creationId xmlns:a16="http://schemas.microsoft.com/office/drawing/2014/main" id="{3E75F77E-5EBA-4A44-A6E5-3B878F718178}"/>
                  </a:ext>
                </a:extLst>
              </p:cNvPr>
              <p:cNvSpPr>
                <a:spLocks noChangeArrowheads="1"/>
              </p:cNvSpPr>
              <p:nvPr/>
            </p:nvSpPr>
            <p:spPr bwMode="auto">
              <a:xfrm>
                <a:off x="3675063" y="2633663"/>
                <a:ext cx="626427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You may let users decide to keep or delete files during 3 years, but issue an automatic purge when this period end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6" name="Rectangle 79">
                <a:extLst>
                  <a:ext uri="{FF2B5EF4-FFF2-40B4-BE49-F238E27FC236}">
                    <a16:creationId xmlns:a16="http://schemas.microsoft.com/office/drawing/2014/main" id="{1D1B982D-D373-4A50-AAC2-8C196B159867}"/>
                  </a:ext>
                </a:extLst>
              </p:cNvPr>
              <p:cNvSpPr>
                <a:spLocks noChangeArrowheads="1"/>
              </p:cNvSpPr>
              <p:nvPr/>
            </p:nvSpPr>
            <p:spPr bwMode="auto">
              <a:xfrm>
                <a:off x="6369050" y="1587500"/>
                <a:ext cx="314325"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205867"/>
                    </a:solidFill>
                    <a:effectLst/>
                    <a:latin typeface="Segoe UI" panose="020B0502040204020203" pitchFamily="34" charset="0"/>
                  </a:rPr>
                  <a:t>E5</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5" name="TextBox 4">
              <a:extLst>
                <a:ext uri="{FF2B5EF4-FFF2-40B4-BE49-F238E27FC236}">
                  <a16:creationId xmlns:a16="http://schemas.microsoft.com/office/drawing/2014/main" id="{2E81BDC8-7618-93B0-4BEB-3A454009BCCA}"/>
                </a:ext>
              </a:extLst>
            </p:cNvPr>
            <p:cNvSpPr txBox="1"/>
            <p:nvPr/>
          </p:nvSpPr>
          <p:spPr>
            <a:xfrm>
              <a:off x="1176793" y="1934031"/>
              <a:ext cx="1476366"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Application</a:t>
              </a:r>
            </a:p>
          </p:txBody>
        </p:sp>
      </p:grpSp>
      <p:cxnSp>
        <p:nvCxnSpPr>
          <p:cNvPr id="8" name="Straight Connector 7">
            <a:extLst>
              <a:ext uri="{FF2B5EF4-FFF2-40B4-BE49-F238E27FC236}">
                <a16:creationId xmlns:a16="http://schemas.microsoft.com/office/drawing/2014/main" id="{716ED8B6-E45F-2074-C7D5-145ED73C5ACC}"/>
              </a:ext>
            </a:extLst>
          </p:cNvPr>
          <p:cNvCxnSpPr/>
          <p:nvPr/>
        </p:nvCxnSpPr>
        <p:spPr>
          <a:xfrm>
            <a:off x="988142" y="1248697"/>
            <a:ext cx="10289458" cy="0"/>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405A8825-A310-A74C-20FA-CCEF7FB597AF}"/>
              </a:ext>
            </a:extLst>
          </p:cNvPr>
          <p:cNvGrpSpPr/>
          <p:nvPr/>
        </p:nvGrpSpPr>
        <p:grpSpPr>
          <a:xfrm>
            <a:off x="8708545" y="3630019"/>
            <a:ext cx="2328073" cy="2494239"/>
            <a:chOff x="8708545" y="3630019"/>
            <a:chExt cx="2328073" cy="2494239"/>
          </a:xfrm>
        </p:grpSpPr>
        <p:pic>
          <p:nvPicPr>
            <p:cNvPr id="144" name="Picture 143">
              <a:extLst>
                <a:ext uri="{FF2B5EF4-FFF2-40B4-BE49-F238E27FC236}">
                  <a16:creationId xmlns:a16="http://schemas.microsoft.com/office/drawing/2014/main" id="{609109CA-A4FD-4147-BE9C-8A85D791F4F2}"/>
                </a:ext>
              </a:extLst>
            </p:cNvPr>
            <p:cNvPicPr>
              <a:picLocks noChangeAspect="1"/>
            </p:cNvPicPr>
            <p:nvPr/>
          </p:nvPicPr>
          <p:blipFill>
            <a:blip r:embed="rId4"/>
            <a:stretch>
              <a:fillRect/>
            </a:stretch>
          </p:blipFill>
          <p:spPr>
            <a:xfrm>
              <a:off x="8842058" y="4141152"/>
              <a:ext cx="2194560" cy="1983106"/>
            </a:xfrm>
            <a:prstGeom prst="rect">
              <a:avLst/>
            </a:prstGeom>
          </p:spPr>
        </p:pic>
        <p:sp>
          <p:nvSpPr>
            <p:cNvPr id="10" name="TextBox 9">
              <a:extLst>
                <a:ext uri="{FF2B5EF4-FFF2-40B4-BE49-F238E27FC236}">
                  <a16:creationId xmlns:a16="http://schemas.microsoft.com/office/drawing/2014/main" id="{8C8DFBAA-94C6-C84B-CA56-24C9C630BE84}"/>
                </a:ext>
              </a:extLst>
            </p:cNvPr>
            <p:cNvSpPr txBox="1"/>
            <p:nvPr/>
          </p:nvSpPr>
          <p:spPr>
            <a:xfrm>
              <a:off x="8708545" y="3630019"/>
              <a:ext cx="2328073"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Dedicated Storage Location</a:t>
              </a:r>
            </a:p>
          </p:txBody>
        </p:sp>
      </p:grpSp>
    </p:spTree>
    <p:extLst>
      <p:ext uri="{BB962C8B-B14F-4D97-AF65-F5344CB8AC3E}">
        <p14:creationId xmlns:p14="http://schemas.microsoft.com/office/powerpoint/2010/main" val="3166985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3 complementary options to apply rul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367D4083-3FAC-44A9-BC27-69AFA15BE76A}"/>
              </a:ext>
            </a:extLst>
          </p:cNvPr>
          <p:cNvPicPr>
            <a:picLocks noChangeAspect="1"/>
          </p:cNvPicPr>
          <p:nvPr/>
        </p:nvPicPr>
        <p:blipFill>
          <a:blip r:embed="rId3"/>
          <a:stretch>
            <a:fillRect/>
          </a:stretch>
        </p:blipFill>
        <p:spPr>
          <a:xfrm>
            <a:off x="5274694" y="3376630"/>
            <a:ext cx="2920366" cy="2446020"/>
          </a:xfrm>
          <a:prstGeom prst="rect">
            <a:avLst/>
          </a:prstGeom>
        </p:spPr>
      </p:pic>
      <p:pic>
        <p:nvPicPr>
          <p:cNvPr id="8" name="Picture 7">
            <a:extLst>
              <a:ext uri="{FF2B5EF4-FFF2-40B4-BE49-F238E27FC236}">
                <a16:creationId xmlns:a16="http://schemas.microsoft.com/office/drawing/2014/main" id="{31759D74-C053-4957-B19C-8251CB366574}"/>
              </a:ext>
            </a:extLst>
          </p:cNvPr>
          <p:cNvPicPr>
            <a:picLocks noChangeAspect="1"/>
          </p:cNvPicPr>
          <p:nvPr/>
        </p:nvPicPr>
        <p:blipFill>
          <a:blip r:embed="rId4"/>
          <a:stretch>
            <a:fillRect/>
          </a:stretch>
        </p:blipFill>
        <p:spPr>
          <a:xfrm>
            <a:off x="2552285" y="720227"/>
            <a:ext cx="3143250" cy="2588896"/>
          </a:xfrm>
          <a:prstGeom prst="rect">
            <a:avLst/>
          </a:prstGeom>
        </p:spPr>
      </p:pic>
      <p:pic>
        <p:nvPicPr>
          <p:cNvPr id="10" name="Picture 9">
            <a:extLst>
              <a:ext uri="{FF2B5EF4-FFF2-40B4-BE49-F238E27FC236}">
                <a16:creationId xmlns:a16="http://schemas.microsoft.com/office/drawing/2014/main" id="{2460F973-067B-4E56-B187-32BF1A7BDD7F}"/>
              </a:ext>
            </a:extLst>
          </p:cNvPr>
          <p:cNvPicPr>
            <a:picLocks noChangeAspect="1"/>
          </p:cNvPicPr>
          <p:nvPr/>
        </p:nvPicPr>
        <p:blipFill>
          <a:blip r:embed="rId5"/>
          <a:stretch>
            <a:fillRect/>
          </a:stretch>
        </p:blipFill>
        <p:spPr>
          <a:xfrm>
            <a:off x="2755072" y="1479030"/>
            <a:ext cx="5343526" cy="1337310"/>
          </a:xfrm>
          <a:prstGeom prst="rect">
            <a:avLst/>
          </a:prstGeom>
        </p:spPr>
      </p:pic>
      <p:pic>
        <p:nvPicPr>
          <p:cNvPr id="14" name="Picture 13">
            <a:extLst>
              <a:ext uri="{FF2B5EF4-FFF2-40B4-BE49-F238E27FC236}">
                <a16:creationId xmlns:a16="http://schemas.microsoft.com/office/drawing/2014/main" id="{68045BAB-7B5D-4F5C-9331-4A18ADEB42DC}"/>
              </a:ext>
            </a:extLst>
          </p:cNvPr>
          <p:cNvPicPr>
            <a:picLocks noChangeAspect="1"/>
          </p:cNvPicPr>
          <p:nvPr/>
        </p:nvPicPr>
        <p:blipFill>
          <a:blip r:embed="rId6"/>
          <a:stretch>
            <a:fillRect/>
          </a:stretch>
        </p:blipFill>
        <p:spPr>
          <a:xfrm>
            <a:off x="6964211" y="2063559"/>
            <a:ext cx="2406016" cy="2668906"/>
          </a:xfrm>
          <a:prstGeom prst="rect">
            <a:avLst/>
          </a:prstGeom>
        </p:spPr>
      </p:pic>
      <p:pic>
        <p:nvPicPr>
          <p:cNvPr id="16" name="Picture 15">
            <a:extLst>
              <a:ext uri="{FF2B5EF4-FFF2-40B4-BE49-F238E27FC236}">
                <a16:creationId xmlns:a16="http://schemas.microsoft.com/office/drawing/2014/main" id="{F7E275C9-3D88-46C3-9532-71C4D0552609}"/>
              </a:ext>
            </a:extLst>
          </p:cNvPr>
          <p:cNvPicPr>
            <a:picLocks noChangeAspect="1"/>
          </p:cNvPicPr>
          <p:nvPr/>
        </p:nvPicPr>
        <p:blipFill>
          <a:blip r:embed="rId7"/>
          <a:stretch>
            <a:fillRect/>
          </a:stretch>
        </p:blipFill>
        <p:spPr>
          <a:xfrm>
            <a:off x="6610944" y="4191372"/>
            <a:ext cx="4343400" cy="982980"/>
          </a:xfrm>
          <a:prstGeom prst="rect">
            <a:avLst/>
          </a:prstGeom>
        </p:spPr>
      </p:pic>
      <p:pic>
        <p:nvPicPr>
          <p:cNvPr id="20" name="Picture 19">
            <a:extLst>
              <a:ext uri="{FF2B5EF4-FFF2-40B4-BE49-F238E27FC236}">
                <a16:creationId xmlns:a16="http://schemas.microsoft.com/office/drawing/2014/main" id="{3BEA6CAE-7966-4C35-B676-188ACD907BAB}"/>
              </a:ext>
            </a:extLst>
          </p:cNvPr>
          <p:cNvPicPr>
            <a:picLocks noChangeAspect="1"/>
          </p:cNvPicPr>
          <p:nvPr/>
        </p:nvPicPr>
        <p:blipFill>
          <a:blip r:embed="rId8"/>
          <a:stretch>
            <a:fillRect/>
          </a:stretch>
        </p:blipFill>
        <p:spPr>
          <a:xfrm>
            <a:off x="2671498" y="3275892"/>
            <a:ext cx="5280660" cy="2417446"/>
          </a:xfrm>
          <a:prstGeom prst="rect">
            <a:avLst/>
          </a:prstGeom>
        </p:spPr>
      </p:pic>
      <p:pic>
        <p:nvPicPr>
          <p:cNvPr id="22" name="Picture 21">
            <a:extLst>
              <a:ext uri="{FF2B5EF4-FFF2-40B4-BE49-F238E27FC236}">
                <a16:creationId xmlns:a16="http://schemas.microsoft.com/office/drawing/2014/main" id="{C5119A7C-3612-43F2-9CB0-AF548027A8D6}"/>
              </a:ext>
            </a:extLst>
          </p:cNvPr>
          <p:cNvPicPr>
            <a:picLocks noChangeAspect="1"/>
          </p:cNvPicPr>
          <p:nvPr/>
        </p:nvPicPr>
        <p:blipFill>
          <a:blip r:embed="rId9"/>
          <a:stretch>
            <a:fillRect/>
          </a:stretch>
        </p:blipFill>
        <p:spPr>
          <a:xfrm>
            <a:off x="3733222" y="2754241"/>
            <a:ext cx="3120390" cy="840106"/>
          </a:xfrm>
          <a:prstGeom prst="rect">
            <a:avLst/>
          </a:prstGeom>
        </p:spPr>
      </p:pic>
      <p:pic>
        <p:nvPicPr>
          <p:cNvPr id="4" name="Picture 3">
            <a:extLst>
              <a:ext uri="{FF2B5EF4-FFF2-40B4-BE49-F238E27FC236}">
                <a16:creationId xmlns:a16="http://schemas.microsoft.com/office/drawing/2014/main" id="{522114A0-F0DF-F560-00FB-E9B711788092}"/>
              </a:ext>
            </a:extLst>
          </p:cNvPr>
          <p:cNvPicPr>
            <a:picLocks noChangeAspect="1"/>
          </p:cNvPicPr>
          <p:nvPr/>
        </p:nvPicPr>
        <p:blipFill>
          <a:blip r:embed="rId10"/>
          <a:stretch>
            <a:fillRect/>
          </a:stretch>
        </p:blipFill>
        <p:spPr>
          <a:xfrm>
            <a:off x="2552285" y="2789057"/>
            <a:ext cx="1194436" cy="520066"/>
          </a:xfrm>
          <a:prstGeom prst="rect">
            <a:avLst/>
          </a:prstGeom>
        </p:spPr>
      </p:pic>
    </p:spTree>
    <p:extLst>
      <p:ext uri="{BB962C8B-B14F-4D97-AF65-F5344CB8AC3E}">
        <p14:creationId xmlns:p14="http://schemas.microsoft.com/office/powerpoint/2010/main" val="1600082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10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up)">
                                      <p:cBhvr>
                                        <p:cTn id="25" dur="10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wipe(left)">
                                      <p:cBhvr>
                                        <p:cTn id="30" dur="1000"/>
                                        <p:tgtEl>
                                          <p:spTgt spid="16"/>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wipe(left)">
                                      <p:cBhvr>
                                        <p:cTn id="35" dur="1000"/>
                                        <p:tgtEl>
                                          <p:spTgt spid="2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wipe(left)">
                                      <p:cBhvr>
                                        <p:cTn id="40"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04859BD7-041D-40C3-A887-03BD968BEDEE}"/>
              </a:ext>
            </a:extLst>
          </p:cNvPr>
          <p:cNvGrpSpPr/>
          <p:nvPr/>
        </p:nvGrpSpPr>
        <p:grpSpPr>
          <a:xfrm>
            <a:off x="4203700" y="2986088"/>
            <a:ext cx="1619251" cy="3779838"/>
            <a:chOff x="4203700" y="2986088"/>
            <a:chExt cx="1619251" cy="3779838"/>
          </a:xfrm>
        </p:grpSpPr>
        <p:sp>
          <p:nvSpPr>
            <p:cNvPr id="58" name="Rectangle 158">
              <a:extLst>
                <a:ext uri="{FF2B5EF4-FFF2-40B4-BE49-F238E27FC236}">
                  <a16:creationId xmlns:a16="http://schemas.microsoft.com/office/drawing/2014/main" id="{4C51A5D5-889A-4371-8D9A-6A4C1268D8F5}"/>
                </a:ext>
              </a:extLst>
            </p:cNvPr>
            <p:cNvSpPr>
              <a:spLocks noChangeArrowheads="1"/>
            </p:cNvSpPr>
            <p:nvPr/>
          </p:nvSpPr>
          <p:spPr bwMode="auto">
            <a:xfrm>
              <a:off x="4203700" y="4011613"/>
              <a:ext cx="1604963" cy="2754313"/>
            </a:xfrm>
            <a:prstGeom prst="rect">
              <a:avLst/>
            </a:prstGeom>
            <a:solidFill>
              <a:srgbClr val="DBEE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59">
              <a:extLst>
                <a:ext uri="{FF2B5EF4-FFF2-40B4-BE49-F238E27FC236}">
                  <a16:creationId xmlns:a16="http://schemas.microsoft.com/office/drawing/2014/main" id="{D94E7387-51A4-467E-9449-1F0DC8FB947C}"/>
                </a:ext>
              </a:extLst>
            </p:cNvPr>
            <p:cNvSpPr>
              <a:spLocks noChangeArrowheads="1"/>
            </p:cNvSpPr>
            <p:nvPr/>
          </p:nvSpPr>
          <p:spPr bwMode="auto">
            <a:xfrm>
              <a:off x="4203700" y="4011613"/>
              <a:ext cx="1604963" cy="2754313"/>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Freeform 174">
              <a:extLst>
                <a:ext uri="{FF2B5EF4-FFF2-40B4-BE49-F238E27FC236}">
                  <a16:creationId xmlns:a16="http://schemas.microsoft.com/office/drawing/2014/main" id="{297F2246-3373-4CF4-90C9-923F3F6B8D3B}"/>
                </a:ext>
              </a:extLst>
            </p:cNvPr>
            <p:cNvSpPr>
              <a:spLocks/>
            </p:cNvSpPr>
            <p:nvPr/>
          </p:nvSpPr>
          <p:spPr bwMode="auto">
            <a:xfrm>
              <a:off x="4532313" y="416718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75">
              <a:extLst>
                <a:ext uri="{FF2B5EF4-FFF2-40B4-BE49-F238E27FC236}">
                  <a16:creationId xmlns:a16="http://schemas.microsoft.com/office/drawing/2014/main" id="{492E406D-9599-41C0-8ADD-3489788CF3B6}"/>
                </a:ext>
              </a:extLst>
            </p:cNvPr>
            <p:cNvSpPr>
              <a:spLocks/>
            </p:cNvSpPr>
            <p:nvPr/>
          </p:nvSpPr>
          <p:spPr bwMode="auto">
            <a:xfrm>
              <a:off x="4532313" y="416718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Rectangle 176">
              <a:extLst>
                <a:ext uri="{FF2B5EF4-FFF2-40B4-BE49-F238E27FC236}">
                  <a16:creationId xmlns:a16="http://schemas.microsoft.com/office/drawing/2014/main" id="{4137C440-8D68-4744-887C-E34460C14238}"/>
                </a:ext>
              </a:extLst>
            </p:cNvPr>
            <p:cNvSpPr>
              <a:spLocks noChangeArrowheads="1"/>
            </p:cNvSpPr>
            <p:nvPr/>
          </p:nvSpPr>
          <p:spPr bwMode="auto">
            <a:xfrm>
              <a:off x="4779963" y="4187826"/>
              <a:ext cx="6159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Standar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177">
              <a:extLst>
                <a:ext uri="{FF2B5EF4-FFF2-40B4-BE49-F238E27FC236}">
                  <a16:creationId xmlns:a16="http://schemas.microsoft.com/office/drawing/2014/main" id="{E65DD055-FF79-4619-B8B0-60C75693B50A}"/>
                </a:ext>
              </a:extLst>
            </p:cNvPr>
            <p:cNvSpPr>
              <a:spLocks noChangeArrowheads="1"/>
            </p:cNvSpPr>
            <p:nvPr/>
          </p:nvSpPr>
          <p:spPr bwMode="auto">
            <a:xfrm>
              <a:off x="4608513" y="4340226"/>
              <a:ext cx="95408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4" name="Freeform 178">
              <a:extLst>
                <a:ext uri="{FF2B5EF4-FFF2-40B4-BE49-F238E27FC236}">
                  <a16:creationId xmlns:a16="http://schemas.microsoft.com/office/drawing/2014/main" id="{755007E8-CFA1-4726-984E-4680B2B0A2E5}"/>
                </a:ext>
              </a:extLst>
            </p:cNvPr>
            <p:cNvSpPr>
              <a:spLocks/>
            </p:cNvSpPr>
            <p:nvPr/>
          </p:nvSpPr>
          <p:spPr bwMode="auto">
            <a:xfrm>
              <a:off x="4429125" y="5965826"/>
              <a:ext cx="1185863" cy="361950"/>
            </a:xfrm>
            <a:custGeom>
              <a:avLst/>
              <a:gdLst>
                <a:gd name="T0" fmla="*/ 397 w 3976"/>
                <a:gd name="T1" fmla="*/ 1216 h 1216"/>
                <a:gd name="T2" fmla="*/ 3578 w 3976"/>
                <a:gd name="T3" fmla="*/ 1216 h 1216"/>
                <a:gd name="T4" fmla="*/ 3976 w 3976"/>
                <a:gd name="T5" fmla="*/ 818 h 1216"/>
                <a:gd name="T6" fmla="*/ 3976 w 3976"/>
                <a:gd name="T7" fmla="*/ 397 h 1216"/>
                <a:gd name="T8" fmla="*/ 3578 w 3976"/>
                <a:gd name="T9" fmla="*/ 0 h 1216"/>
                <a:gd name="T10" fmla="*/ 397 w 3976"/>
                <a:gd name="T11" fmla="*/ 0 h 1216"/>
                <a:gd name="T12" fmla="*/ 0 w 3976"/>
                <a:gd name="T13" fmla="*/ 397 h 1216"/>
                <a:gd name="T14" fmla="*/ 0 w 3976"/>
                <a:gd name="T15" fmla="*/ 818 h 1216"/>
                <a:gd name="T16" fmla="*/ 397 w 3976"/>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6" h="1216">
                  <a:moveTo>
                    <a:pt x="397" y="1216"/>
                  </a:moveTo>
                  <a:lnTo>
                    <a:pt x="3578" y="1216"/>
                  </a:lnTo>
                  <a:cubicBezTo>
                    <a:pt x="3798" y="1216"/>
                    <a:pt x="3976" y="1038"/>
                    <a:pt x="3976" y="818"/>
                  </a:cubicBezTo>
                  <a:lnTo>
                    <a:pt x="3976" y="397"/>
                  </a:lnTo>
                  <a:cubicBezTo>
                    <a:pt x="3976" y="178"/>
                    <a:pt x="3798" y="0"/>
                    <a:pt x="3578" y="0"/>
                  </a:cubicBezTo>
                  <a:lnTo>
                    <a:pt x="397" y="0"/>
                  </a:lnTo>
                  <a:cubicBezTo>
                    <a:pt x="178" y="0"/>
                    <a:pt x="0" y="178"/>
                    <a:pt x="0" y="397"/>
                  </a:cubicBezTo>
                  <a:lnTo>
                    <a:pt x="0" y="818"/>
                  </a:lnTo>
                  <a:cubicBezTo>
                    <a:pt x="0" y="1038"/>
                    <a:pt x="178" y="1216"/>
                    <a:pt x="397"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179">
              <a:extLst>
                <a:ext uri="{FF2B5EF4-FFF2-40B4-BE49-F238E27FC236}">
                  <a16:creationId xmlns:a16="http://schemas.microsoft.com/office/drawing/2014/main" id="{95F6EAD4-8F36-439D-9E72-35A0189DDD98}"/>
                </a:ext>
              </a:extLst>
            </p:cNvPr>
            <p:cNvSpPr>
              <a:spLocks/>
            </p:cNvSpPr>
            <p:nvPr/>
          </p:nvSpPr>
          <p:spPr bwMode="auto">
            <a:xfrm>
              <a:off x="4429125" y="5965826"/>
              <a:ext cx="1185863" cy="361950"/>
            </a:xfrm>
            <a:custGeom>
              <a:avLst/>
              <a:gdLst>
                <a:gd name="T0" fmla="*/ 397 w 3976"/>
                <a:gd name="T1" fmla="*/ 1216 h 1216"/>
                <a:gd name="T2" fmla="*/ 3578 w 3976"/>
                <a:gd name="T3" fmla="*/ 1216 h 1216"/>
                <a:gd name="T4" fmla="*/ 3976 w 3976"/>
                <a:gd name="T5" fmla="*/ 818 h 1216"/>
                <a:gd name="T6" fmla="*/ 3976 w 3976"/>
                <a:gd name="T7" fmla="*/ 397 h 1216"/>
                <a:gd name="T8" fmla="*/ 3578 w 3976"/>
                <a:gd name="T9" fmla="*/ 0 h 1216"/>
                <a:gd name="T10" fmla="*/ 397 w 3976"/>
                <a:gd name="T11" fmla="*/ 0 h 1216"/>
                <a:gd name="T12" fmla="*/ 0 w 3976"/>
                <a:gd name="T13" fmla="*/ 397 h 1216"/>
                <a:gd name="T14" fmla="*/ 0 w 3976"/>
                <a:gd name="T15" fmla="*/ 818 h 1216"/>
                <a:gd name="T16" fmla="*/ 397 w 3976"/>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6" h="1216">
                  <a:moveTo>
                    <a:pt x="397" y="1216"/>
                  </a:moveTo>
                  <a:lnTo>
                    <a:pt x="3578" y="1216"/>
                  </a:lnTo>
                  <a:cubicBezTo>
                    <a:pt x="3798" y="1216"/>
                    <a:pt x="3976" y="1038"/>
                    <a:pt x="3976" y="818"/>
                  </a:cubicBezTo>
                  <a:lnTo>
                    <a:pt x="3976" y="397"/>
                  </a:lnTo>
                  <a:cubicBezTo>
                    <a:pt x="3976" y="178"/>
                    <a:pt x="3798" y="0"/>
                    <a:pt x="3578" y="0"/>
                  </a:cubicBezTo>
                  <a:lnTo>
                    <a:pt x="397" y="0"/>
                  </a:lnTo>
                  <a:cubicBezTo>
                    <a:pt x="178" y="0"/>
                    <a:pt x="0" y="178"/>
                    <a:pt x="0" y="397"/>
                  </a:cubicBezTo>
                  <a:lnTo>
                    <a:pt x="0" y="818"/>
                  </a:lnTo>
                  <a:cubicBezTo>
                    <a:pt x="0" y="1038"/>
                    <a:pt x="178" y="1216"/>
                    <a:pt x="397"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Rectangle 180">
              <a:extLst>
                <a:ext uri="{FF2B5EF4-FFF2-40B4-BE49-F238E27FC236}">
                  <a16:creationId xmlns:a16="http://schemas.microsoft.com/office/drawing/2014/main" id="{C82EC969-FFA7-46EF-8E9E-15D6C05E8058}"/>
                </a:ext>
              </a:extLst>
            </p:cNvPr>
            <p:cNvSpPr>
              <a:spLocks noChangeArrowheads="1"/>
            </p:cNvSpPr>
            <p:nvPr/>
          </p:nvSpPr>
          <p:spPr bwMode="auto">
            <a:xfrm>
              <a:off x="4549775" y="5988051"/>
              <a:ext cx="11398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Regulatory Recor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7" name="Rectangle 181">
              <a:extLst>
                <a:ext uri="{FF2B5EF4-FFF2-40B4-BE49-F238E27FC236}">
                  <a16:creationId xmlns:a16="http://schemas.microsoft.com/office/drawing/2014/main" id="{3362E1E7-5E82-4229-B6D9-1FA33FA941F4}"/>
                </a:ext>
              </a:extLst>
            </p:cNvPr>
            <p:cNvSpPr>
              <a:spLocks noChangeArrowheads="1"/>
            </p:cNvSpPr>
            <p:nvPr/>
          </p:nvSpPr>
          <p:spPr bwMode="auto">
            <a:xfrm>
              <a:off x="4618038" y="6140451"/>
              <a:ext cx="952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8" name="Rectangle 182">
              <a:extLst>
                <a:ext uri="{FF2B5EF4-FFF2-40B4-BE49-F238E27FC236}">
                  <a16:creationId xmlns:a16="http://schemas.microsoft.com/office/drawing/2014/main" id="{77FE1731-5D68-40EF-B4D5-2D668FE4C3E4}"/>
                </a:ext>
              </a:extLst>
            </p:cNvPr>
            <p:cNvSpPr>
              <a:spLocks noChangeArrowheads="1"/>
            </p:cNvSpPr>
            <p:nvPr/>
          </p:nvSpPr>
          <p:spPr bwMode="auto">
            <a:xfrm>
              <a:off x="4621213" y="5468938"/>
              <a:ext cx="8064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prevents update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9" name="Rectangle 183">
              <a:extLst>
                <a:ext uri="{FF2B5EF4-FFF2-40B4-BE49-F238E27FC236}">
                  <a16:creationId xmlns:a16="http://schemas.microsoft.com/office/drawing/2014/main" id="{249D5869-3EE2-4478-A59E-415BE780BA40}"/>
                </a:ext>
              </a:extLst>
            </p:cNvPr>
            <p:cNvSpPr>
              <a:spLocks noChangeArrowheads="1"/>
            </p:cNvSpPr>
            <p:nvPr/>
          </p:nvSpPr>
          <p:spPr bwMode="auto">
            <a:xfrm>
              <a:off x="4400550" y="5613401"/>
              <a:ext cx="120650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uring the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0" name="Rectangle 187">
              <a:extLst>
                <a:ext uri="{FF2B5EF4-FFF2-40B4-BE49-F238E27FC236}">
                  <a16:creationId xmlns:a16="http://schemas.microsoft.com/office/drawing/2014/main" id="{0BE51ECB-1A56-4F4F-A85E-D056F2C4D584}"/>
                </a:ext>
              </a:extLst>
            </p:cNvPr>
            <p:cNvSpPr>
              <a:spLocks noChangeArrowheads="1"/>
            </p:cNvSpPr>
            <p:nvPr/>
          </p:nvSpPr>
          <p:spPr bwMode="auto">
            <a:xfrm>
              <a:off x="4310063" y="6340476"/>
              <a:ext cx="14636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such records cannot be remove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 name="Rectangle 188">
              <a:extLst>
                <a:ext uri="{FF2B5EF4-FFF2-40B4-BE49-F238E27FC236}">
                  <a16:creationId xmlns:a16="http://schemas.microsoft.com/office/drawing/2014/main" id="{4CDA2454-425A-4922-AE5B-612C2F5BBCCB}"/>
                </a:ext>
              </a:extLst>
            </p:cNvPr>
            <p:cNvSpPr>
              <a:spLocks noChangeArrowheads="1"/>
            </p:cNvSpPr>
            <p:nvPr/>
          </p:nvSpPr>
          <p:spPr bwMode="auto">
            <a:xfrm>
              <a:off x="4737100" y="6484938"/>
              <a:ext cx="596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once appli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 name="Rectangle 189">
              <a:extLst>
                <a:ext uri="{FF2B5EF4-FFF2-40B4-BE49-F238E27FC236}">
                  <a16:creationId xmlns:a16="http://schemas.microsoft.com/office/drawing/2014/main" id="{FC5B3EB0-0D69-405F-B14F-EE77F20E607E}"/>
                </a:ext>
              </a:extLst>
            </p:cNvPr>
            <p:cNvSpPr>
              <a:spLocks noChangeArrowheads="1"/>
            </p:cNvSpPr>
            <p:nvPr/>
          </p:nvSpPr>
          <p:spPr bwMode="auto">
            <a:xfrm>
              <a:off x="4217988" y="2986088"/>
              <a:ext cx="1604963" cy="719138"/>
            </a:xfrm>
            <a:prstGeom prst="rect">
              <a:avLst/>
            </a:prstGeom>
            <a:solidFill>
              <a:srgbClr val="DBEE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4">
              <a:extLst>
                <a:ext uri="{FF2B5EF4-FFF2-40B4-BE49-F238E27FC236}">
                  <a16:creationId xmlns:a16="http://schemas.microsoft.com/office/drawing/2014/main" id="{62F860FC-43AB-41E8-A5C4-13FB49393292}"/>
                </a:ext>
              </a:extLst>
            </p:cNvPr>
            <p:cNvSpPr>
              <a:spLocks/>
            </p:cNvSpPr>
            <p:nvPr/>
          </p:nvSpPr>
          <p:spPr bwMode="auto">
            <a:xfrm>
              <a:off x="4532313" y="5091113"/>
              <a:ext cx="963613"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195">
              <a:extLst>
                <a:ext uri="{FF2B5EF4-FFF2-40B4-BE49-F238E27FC236}">
                  <a16:creationId xmlns:a16="http://schemas.microsoft.com/office/drawing/2014/main" id="{461559DA-BDF2-48AE-B69A-C0A71BAA653B}"/>
                </a:ext>
              </a:extLst>
            </p:cNvPr>
            <p:cNvSpPr>
              <a:spLocks/>
            </p:cNvSpPr>
            <p:nvPr/>
          </p:nvSpPr>
          <p:spPr bwMode="auto">
            <a:xfrm>
              <a:off x="4532313" y="5091113"/>
              <a:ext cx="963613"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Rectangle 196">
              <a:extLst>
                <a:ext uri="{FF2B5EF4-FFF2-40B4-BE49-F238E27FC236}">
                  <a16:creationId xmlns:a16="http://schemas.microsoft.com/office/drawing/2014/main" id="{6D9550DE-69E9-4045-91A8-BA06C25CF7E8}"/>
                </a:ext>
              </a:extLst>
            </p:cNvPr>
            <p:cNvSpPr>
              <a:spLocks noChangeArrowheads="1"/>
            </p:cNvSpPr>
            <p:nvPr/>
          </p:nvSpPr>
          <p:spPr bwMode="auto">
            <a:xfrm>
              <a:off x="4837113" y="5113338"/>
              <a:ext cx="461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Recor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6" name="Rectangle 197">
              <a:extLst>
                <a:ext uri="{FF2B5EF4-FFF2-40B4-BE49-F238E27FC236}">
                  <a16:creationId xmlns:a16="http://schemas.microsoft.com/office/drawing/2014/main" id="{12474B26-4F22-4E66-8B4A-A927120AAAE9}"/>
                </a:ext>
              </a:extLst>
            </p:cNvPr>
            <p:cNvSpPr>
              <a:spLocks noChangeArrowheads="1"/>
            </p:cNvSpPr>
            <p:nvPr/>
          </p:nvSpPr>
          <p:spPr bwMode="auto">
            <a:xfrm>
              <a:off x="4608513" y="5265738"/>
              <a:ext cx="954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7" name="Rectangle 219">
              <a:extLst>
                <a:ext uri="{FF2B5EF4-FFF2-40B4-BE49-F238E27FC236}">
                  <a16:creationId xmlns:a16="http://schemas.microsoft.com/office/drawing/2014/main" id="{A870EE24-610D-4EC7-8B78-6E126B4872AD}"/>
                </a:ext>
              </a:extLst>
            </p:cNvPr>
            <p:cNvSpPr>
              <a:spLocks noChangeArrowheads="1"/>
            </p:cNvSpPr>
            <p:nvPr/>
          </p:nvSpPr>
          <p:spPr bwMode="auto">
            <a:xfrm>
              <a:off x="4619625" y="4521201"/>
              <a:ext cx="79216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ensures 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220">
              <a:extLst>
                <a:ext uri="{FF2B5EF4-FFF2-40B4-BE49-F238E27FC236}">
                  <a16:creationId xmlns:a16="http://schemas.microsoft.com/office/drawing/2014/main" id="{4A252849-7774-4668-A7A4-2C60EA788DA2}"/>
                </a:ext>
              </a:extLst>
            </p:cNvPr>
            <p:cNvSpPr>
              <a:spLocks noChangeArrowheads="1"/>
            </p:cNvSpPr>
            <p:nvPr/>
          </p:nvSpPr>
          <p:spPr bwMode="auto">
            <a:xfrm>
              <a:off x="4570413" y="4643438"/>
              <a:ext cx="914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mp; prevents deletio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9" name="Rectangle 221">
              <a:extLst>
                <a:ext uri="{FF2B5EF4-FFF2-40B4-BE49-F238E27FC236}">
                  <a16:creationId xmlns:a16="http://schemas.microsoft.com/office/drawing/2014/main" id="{D804F941-9D5B-474E-B2FB-CD9421B7667C}"/>
                </a:ext>
              </a:extLst>
            </p:cNvPr>
            <p:cNvSpPr>
              <a:spLocks noChangeArrowheads="1"/>
            </p:cNvSpPr>
            <p:nvPr/>
          </p:nvSpPr>
          <p:spPr bwMode="auto">
            <a:xfrm>
              <a:off x="4405313" y="4787901"/>
              <a:ext cx="12065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uring the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 name="TextBox 4">
            <a:extLst>
              <a:ext uri="{FF2B5EF4-FFF2-40B4-BE49-F238E27FC236}">
                <a16:creationId xmlns:a16="http://schemas.microsoft.com/office/drawing/2014/main" id="{BCADBF0E-BB21-4A3A-9A5F-6401F1843D1A}"/>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 Labels - </a:t>
            </a:r>
            <a:r>
              <a:rPr kumimoji="0" lang="en-US" sz="2000" b="0" i="0" u="none" strike="noStrike" kern="1200" cap="none" spc="0" normalizeH="0" baseline="0" noProof="0" dirty="0">
                <a:ln>
                  <a:noFill/>
                </a:ln>
                <a:solidFill>
                  <a:srgbClr val="FFFFFF"/>
                </a:solidFill>
                <a:effectLst/>
                <a:uLnTx/>
                <a:uFillTx/>
                <a:latin typeface="Segoe UI"/>
                <a:ea typeface="+mn-ea"/>
                <a:cs typeface="+mn-cs"/>
              </a:rPr>
              <a:t>Summary</a:t>
            </a:r>
          </a:p>
        </p:txBody>
      </p:sp>
      <p:sp>
        <p:nvSpPr>
          <p:cNvPr id="205" name="Freeform 160">
            <a:extLst>
              <a:ext uri="{FF2B5EF4-FFF2-40B4-BE49-F238E27FC236}">
                <a16:creationId xmlns:a16="http://schemas.microsoft.com/office/drawing/2014/main" id="{7EBF6A66-A0B8-46B9-AF9A-AE3E35604D57}"/>
              </a:ext>
            </a:extLst>
          </p:cNvPr>
          <p:cNvSpPr>
            <a:spLocks/>
          </p:cNvSpPr>
          <p:nvPr/>
        </p:nvSpPr>
        <p:spPr bwMode="auto">
          <a:xfrm>
            <a:off x="4548188" y="61595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61">
            <a:extLst>
              <a:ext uri="{FF2B5EF4-FFF2-40B4-BE49-F238E27FC236}">
                <a16:creationId xmlns:a16="http://schemas.microsoft.com/office/drawing/2014/main" id="{69E95625-85B9-49A1-B6C1-595B5B8C81A3}"/>
              </a:ext>
            </a:extLst>
          </p:cNvPr>
          <p:cNvSpPr>
            <a:spLocks/>
          </p:cNvSpPr>
          <p:nvPr/>
        </p:nvSpPr>
        <p:spPr bwMode="auto">
          <a:xfrm>
            <a:off x="4548188" y="61595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Rectangle 162">
            <a:extLst>
              <a:ext uri="{FF2B5EF4-FFF2-40B4-BE49-F238E27FC236}">
                <a16:creationId xmlns:a16="http://schemas.microsoft.com/office/drawing/2014/main" id="{8155E111-C3D5-475C-9C5B-4476F1573C1E}"/>
              </a:ext>
            </a:extLst>
          </p:cNvPr>
          <p:cNvSpPr>
            <a:spLocks noChangeArrowheads="1"/>
          </p:cNvSpPr>
          <p:nvPr/>
        </p:nvSpPr>
        <p:spPr bwMode="auto">
          <a:xfrm>
            <a:off x="4819650" y="638176"/>
            <a:ext cx="5349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Calibri" panose="020F0502020204030204" pitchFamily="34" charset="0"/>
              </a:rPr>
              <a:t>Record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8" name="Rectangle 163">
            <a:extLst>
              <a:ext uri="{FF2B5EF4-FFF2-40B4-BE49-F238E27FC236}">
                <a16:creationId xmlns:a16="http://schemas.microsoft.com/office/drawing/2014/main" id="{A77FDFD0-C63B-4EEC-81CA-F0B0BFF704DE}"/>
              </a:ext>
            </a:extLst>
          </p:cNvPr>
          <p:cNvSpPr>
            <a:spLocks noChangeArrowheads="1"/>
          </p:cNvSpPr>
          <p:nvPr/>
        </p:nvSpPr>
        <p:spPr bwMode="auto">
          <a:xfrm>
            <a:off x="4679950" y="790576"/>
            <a:ext cx="8397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Calibri" panose="020F0502020204030204" pitchFamily="34" charset="0"/>
              </a:rPr>
              <a:t>manageme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4" name="Freeform 169">
            <a:extLst>
              <a:ext uri="{FF2B5EF4-FFF2-40B4-BE49-F238E27FC236}">
                <a16:creationId xmlns:a16="http://schemas.microsoft.com/office/drawing/2014/main" id="{F94CEDA6-3A2D-43C9-BB16-93DC8AC3756A}"/>
              </a:ext>
            </a:extLst>
          </p:cNvPr>
          <p:cNvSpPr>
            <a:spLocks/>
          </p:cNvSpPr>
          <p:nvPr/>
        </p:nvSpPr>
        <p:spPr bwMode="auto">
          <a:xfrm>
            <a:off x="4837113" y="101601"/>
            <a:ext cx="115888" cy="114300"/>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2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7"/>
                  <a:pt x="221" y="0"/>
                  <a:pt x="194" y="0"/>
                </a:cubicBezTo>
                <a:cubicBezTo>
                  <a:pt x="167" y="0"/>
                  <a:pt x="138" y="7"/>
                  <a:pt x="115" y="18"/>
                </a:cubicBezTo>
                <a:cubicBezTo>
                  <a:pt x="50" y="47"/>
                  <a:pt x="2" y="115"/>
                  <a:pt x="2"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70">
            <a:extLst>
              <a:ext uri="{FF2B5EF4-FFF2-40B4-BE49-F238E27FC236}">
                <a16:creationId xmlns:a16="http://schemas.microsoft.com/office/drawing/2014/main" id="{9E9FCE77-1629-490B-8D48-A532F8C70122}"/>
              </a:ext>
            </a:extLst>
          </p:cNvPr>
          <p:cNvSpPr>
            <a:spLocks/>
          </p:cNvSpPr>
          <p:nvPr/>
        </p:nvSpPr>
        <p:spPr bwMode="auto">
          <a:xfrm>
            <a:off x="4810125" y="23018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71">
            <a:extLst>
              <a:ext uri="{FF2B5EF4-FFF2-40B4-BE49-F238E27FC236}">
                <a16:creationId xmlns:a16="http://schemas.microsoft.com/office/drawing/2014/main" id="{005070A5-AAB3-4125-8EC2-8F6BA0F3EABA}"/>
              </a:ext>
            </a:extLst>
          </p:cNvPr>
          <p:cNvSpPr>
            <a:spLocks/>
          </p:cNvSpPr>
          <p:nvPr/>
        </p:nvSpPr>
        <p:spPr bwMode="auto">
          <a:xfrm>
            <a:off x="4716463" y="258763"/>
            <a:ext cx="79375" cy="57150"/>
          </a:xfrm>
          <a:custGeom>
            <a:avLst/>
            <a:gdLst>
              <a:gd name="T0" fmla="*/ 0 w 268"/>
              <a:gd name="T1" fmla="*/ 193 h 193"/>
              <a:gd name="T2" fmla="*/ 226 w 268"/>
              <a:gd name="T3" fmla="*/ 193 h 193"/>
              <a:gd name="T4" fmla="*/ 268 w 268"/>
              <a:gd name="T5" fmla="*/ 18 h 193"/>
              <a:gd name="T6" fmla="*/ 192 w 268"/>
              <a:gd name="T7" fmla="*/ 2 h 193"/>
              <a:gd name="T8" fmla="*/ 0 w 268"/>
              <a:gd name="T9" fmla="*/ 193 h 193"/>
            </a:gdLst>
            <a:ahLst/>
            <a:cxnLst>
              <a:cxn ang="0">
                <a:pos x="T0" y="T1"/>
              </a:cxn>
              <a:cxn ang="0">
                <a:pos x="T2" y="T3"/>
              </a:cxn>
              <a:cxn ang="0">
                <a:pos x="T4" y="T5"/>
              </a:cxn>
              <a:cxn ang="0">
                <a:pos x="T6" y="T7"/>
              </a:cxn>
              <a:cxn ang="0">
                <a:pos x="T8" y="T9"/>
              </a:cxn>
            </a:cxnLst>
            <a:rect l="0" t="0" r="r" b="b"/>
            <a:pathLst>
              <a:path w="268" h="193">
                <a:moveTo>
                  <a:pt x="0" y="193"/>
                </a:moveTo>
                <a:lnTo>
                  <a:pt x="226" y="193"/>
                </a:lnTo>
                <a:cubicBezTo>
                  <a:pt x="226" y="130"/>
                  <a:pt x="241" y="72"/>
                  <a:pt x="268" y="18"/>
                </a:cubicBezTo>
                <a:cubicBezTo>
                  <a:pt x="246" y="6"/>
                  <a:pt x="219" y="2"/>
                  <a:pt x="192" y="2"/>
                </a:cubicBezTo>
                <a:cubicBezTo>
                  <a:pt x="86" y="0"/>
                  <a:pt x="0" y="87"/>
                  <a:pt x="0" y="193"/>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72">
            <a:extLst>
              <a:ext uri="{FF2B5EF4-FFF2-40B4-BE49-F238E27FC236}">
                <a16:creationId xmlns:a16="http://schemas.microsoft.com/office/drawing/2014/main" id="{0C5D9415-EE14-46BC-A1FC-D1D93F0CCEDF}"/>
              </a:ext>
            </a:extLst>
          </p:cNvPr>
          <p:cNvSpPr>
            <a:spLocks/>
          </p:cNvSpPr>
          <p:nvPr/>
        </p:nvSpPr>
        <p:spPr bwMode="auto">
          <a:xfrm>
            <a:off x="4729163" y="160338"/>
            <a:ext cx="87313"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173">
            <a:extLst>
              <a:ext uri="{FF2B5EF4-FFF2-40B4-BE49-F238E27FC236}">
                <a16:creationId xmlns:a16="http://schemas.microsoft.com/office/drawing/2014/main" id="{866807AB-3F7B-4102-8A01-DA4FC2AE1153}"/>
              </a:ext>
            </a:extLst>
          </p:cNvPr>
          <p:cNvSpPr>
            <a:spLocks noChangeArrowheads="1"/>
          </p:cNvSpPr>
          <p:nvPr/>
        </p:nvSpPr>
        <p:spPr bwMode="auto">
          <a:xfrm>
            <a:off x="5046663" y="125413"/>
            <a:ext cx="1430338"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cords Administr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9" name="Rectangle 224">
            <a:extLst>
              <a:ext uri="{FF2B5EF4-FFF2-40B4-BE49-F238E27FC236}">
                <a16:creationId xmlns:a16="http://schemas.microsoft.com/office/drawing/2014/main" id="{BDDC9963-9A13-4186-98EC-C785C8C4ACE3}"/>
              </a:ext>
            </a:extLst>
          </p:cNvPr>
          <p:cNvSpPr>
            <a:spLocks noChangeArrowheads="1"/>
          </p:cNvSpPr>
          <p:nvPr/>
        </p:nvSpPr>
        <p:spPr bwMode="auto">
          <a:xfrm>
            <a:off x="5580063" y="715963"/>
            <a:ext cx="3286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32" name="Group 31">
            <a:extLst>
              <a:ext uri="{FF2B5EF4-FFF2-40B4-BE49-F238E27FC236}">
                <a16:creationId xmlns:a16="http://schemas.microsoft.com/office/drawing/2014/main" id="{EF4D0CC5-58CA-4C40-AEFF-EF56B5428D98}"/>
              </a:ext>
            </a:extLst>
          </p:cNvPr>
          <p:cNvGrpSpPr/>
          <p:nvPr/>
        </p:nvGrpSpPr>
        <p:grpSpPr>
          <a:xfrm>
            <a:off x="4540250" y="2349501"/>
            <a:ext cx="1006476" cy="1193800"/>
            <a:chOff x="4540250" y="2349501"/>
            <a:chExt cx="1006476" cy="1193800"/>
          </a:xfrm>
        </p:grpSpPr>
        <p:sp>
          <p:nvSpPr>
            <p:cNvPr id="34" name="Rectangle 210">
              <a:extLst>
                <a:ext uri="{FF2B5EF4-FFF2-40B4-BE49-F238E27FC236}">
                  <a16:creationId xmlns:a16="http://schemas.microsoft.com/office/drawing/2014/main" id="{B5369BE5-8956-4B33-B4DB-F137621D7CC4}"/>
                </a:ext>
              </a:extLst>
            </p:cNvPr>
            <p:cNvSpPr>
              <a:spLocks noChangeArrowheads="1"/>
            </p:cNvSpPr>
            <p:nvPr/>
          </p:nvSpPr>
          <p:spPr bwMode="auto">
            <a:xfrm>
              <a:off x="5084763" y="2355851"/>
              <a:ext cx="4619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organiz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Line 211">
              <a:extLst>
                <a:ext uri="{FF2B5EF4-FFF2-40B4-BE49-F238E27FC236}">
                  <a16:creationId xmlns:a16="http://schemas.microsoft.com/office/drawing/2014/main" id="{E5CFC254-96FC-4126-98B0-1E3A0FB03995}"/>
                </a:ext>
              </a:extLst>
            </p:cNvPr>
            <p:cNvSpPr>
              <a:spLocks noChangeShapeType="1"/>
            </p:cNvSpPr>
            <p:nvPr/>
          </p:nvSpPr>
          <p:spPr bwMode="auto">
            <a:xfrm flipH="1">
              <a:off x="5022850" y="2349501"/>
              <a:ext cx="4763" cy="7572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212">
              <a:extLst>
                <a:ext uri="{FF2B5EF4-FFF2-40B4-BE49-F238E27FC236}">
                  <a16:creationId xmlns:a16="http://schemas.microsoft.com/office/drawing/2014/main" id="{C150EC37-AD2E-4C02-8866-53AB10ECAF8B}"/>
                </a:ext>
              </a:extLst>
            </p:cNvPr>
            <p:cNvSpPr>
              <a:spLocks/>
            </p:cNvSpPr>
            <p:nvPr/>
          </p:nvSpPr>
          <p:spPr bwMode="auto">
            <a:xfrm>
              <a:off x="4981575" y="3086101"/>
              <a:ext cx="82550" cy="84138"/>
            </a:xfrm>
            <a:custGeom>
              <a:avLst/>
              <a:gdLst>
                <a:gd name="T0" fmla="*/ 138 w 279"/>
                <a:gd name="T1" fmla="*/ 280 h 280"/>
                <a:gd name="T2" fmla="*/ 0 w 279"/>
                <a:gd name="T3" fmla="*/ 0 h 280"/>
                <a:gd name="T4" fmla="*/ 279 w 279"/>
                <a:gd name="T5" fmla="*/ 2 h 280"/>
                <a:gd name="T6" fmla="*/ 138 w 279"/>
                <a:gd name="T7" fmla="*/ 280 h 280"/>
              </a:gdLst>
              <a:ahLst/>
              <a:cxnLst>
                <a:cxn ang="0">
                  <a:pos x="T0" y="T1"/>
                </a:cxn>
                <a:cxn ang="0">
                  <a:pos x="T2" y="T3"/>
                </a:cxn>
                <a:cxn ang="0">
                  <a:pos x="T4" y="T5"/>
                </a:cxn>
                <a:cxn ang="0">
                  <a:pos x="T6" y="T7"/>
                </a:cxn>
              </a:cxnLst>
              <a:rect l="0" t="0" r="r" b="b"/>
              <a:pathLst>
                <a:path w="279" h="280">
                  <a:moveTo>
                    <a:pt x="138" y="280"/>
                  </a:moveTo>
                  <a:lnTo>
                    <a:pt x="0" y="0"/>
                  </a:lnTo>
                  <a:cubicBezTo>
                    <a:pt x="88" y="45"/>
                    <a:pt x="191" y="45"/>
                    <a:pt x="279" y="2"/>
                  </a:cubicBezTo>
                  <a:lnTo>
                    <a:pt x="138"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13">
              <a:extLst>
                <a:ext uri="{FF2B5EF4-FFF2-40B4-BE49-F238E27FC236}">
                  <a16:creationId xmlns:a16="http://schemas.microsoft.com/office/drawing/2014/main" id="{BC57C1F5-3A33-4285-B6B8-43AE465CDD95}"/>
                </a:ext>
              </a:extLst>
            </p:cNvPr>
            <p:cNvSpPr>
              <a:spLocks/>
            </p:cNvSpPr>
            <p:nvPr/>
          </p:nvSpPr>
          <p:spPr bwMode="auto">
            <a:xfrm>
              <a:off x="4540250" y="317023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14">
              <a:extLst>
                <a:ext uri="{FF2B5EF4-FFF2-40B4-BE49-F238E27FC236}">
                  <a16:creationId xmlns:a16="http://schemas.microsoft.com/office/drawing/2014/main" id="{A6BB6382-C5C5-4F19-BD37-0A372EE338BB}"/>
                </a:ext>
              </a:extLst>
            </p:cNvPr>
            <p:cNvSpPr>
              <a:spLocks/>
            </p:cNvSpPr>
            <p:nvPr/>
          </p:nvSpPr>
          <p:spPr bwMode="auto">
            <a:xfrm>
              <a:off x="4540250" y="317023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Rectangle 215">
              <a:extLst>
                <a:ext uri="{FF2B5EF4-FFF2-40B4-BE49-F238E27FC236}">
                  <a16:creationId xmlns:a16="http://schemas.microsoft.com/office/drawing/2014/main" id="{2876235D-7872-4C1B-9BFC-C5C535E6F706}"/>
                </a:ext>
              </a:extLst>
            </p:cNvPr>
            <p:cNvSpPr>
              <a:spLocks noChangeArrowheads="1"/>
            </p:cNvSpPr>
            <p:nvPr/>
          </p:nvSpPr>
          <p:spPr bwMode="auto">
            <a:xfrm>
              <a:off x="4768850" y="3190876"/>
              <a:ext cx="623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Rectangle 216">
              <a:extLst>
                <a:ext uri="{FF2B5EF4-FFF2-40B4-BE49-F238E27FC236}">
                  <a16:creationId xmlns:a16="http://schemas.microsoft.com/office/drawing/2014/main" id="{B56FF048-29EB-48BA-BD1F-08717512C08B}"/>
                </a:ext>
              </a:extLst>
            </p:cNvPr>
            <p:cNvSpPr>
              <a:spLocks noChangeArrowheads="1"/>
            </p:cNvSpPr>
            <p:nvPr/>
          </p:nvSpPr>
          <p:spPr bwMode="auto">
            <a:xfrm>
              <a:off x="4862513" y="3343276"/>
              <a:ext cx="4238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41" name="Group 40">
            <a:extLst>
              <a:ext uri="{FF2B5EF4-FFF2-40B4-BE49-F238E27FC236}">
                <a16:creationId xmlns:a16="http://schemas.microsoft.com/office/drawing/2014/main" id="{F5B16E8B-A757-469D-ADF8-974CE323DCBF}"/>
              </a:ext>
            </a:extLst>
          </p:cNvPr>
          <p:cNvGrpSpPr/>
          <p:nvPr/>
        </p:nvGrpSpPr>
        <p:grpSpPr>
          <a:xfrm>
            <a:off x="5213350" y="979488"/>
            <a:ext cx="2746375" cy="2195513"/>
            <a:chOff x="5213350" y="979488"/>
            <a:chExt cx="2746375" cy="2195513"/>
          </a:xfrm>
        </p:grpSpPr>
        <p:sp>
          <p:nvSpPr>
            <p:cNvPr id="42" name="Rectangle 164">
              <a:extLst>
                <a:ext uri="{FF2B5EF4-FFF2-40B4-BE49-F238E27FC236}">
                  <a16:creationId xmlns:a16="http://schemas.microsoft.com/office/drawing/2014/main" id="{A016DC02-534B-427F-9D02-0B2FA8187DC1}"/>
                </a:ext>
              </a:extLst>
            </p:cNvPr>
            <p:cNvSpPr>
              <a:spLocks noChangeArrowheads="1"/>
            </p:cNvSpPr>
            <p:nvPr/>
          </p:nvSpPr>
          <p:spPr bwMode="auto">
            <a:xfrm>
              <a:off x="6503988" y="1570038"/>
              <a:ext cx="6191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view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 name="Freeform 165">
              <a:extLst>
                <a:ext uri="{FF2B5EF4-FFF2-40B4-BE49-F238E27FC236}">
                  <a16:creationId xmlns:a16="http://schemas.microsoft.com/office/drawing/2014/main" id="{4651804D-23E3-46CC-BCF5-1A5243C77213}"/>
                </a:ext>
              </a:extLst>
            </p:cNvPr>
            <p:cNvSpPr>
              <a:spLocks/>
            </p:cNvSpPr>
            <p:nvPr/>
          </p:nvSpPr>
          <p:spPr bwMode="auto">
            <a:xfrm>
              <a:off x="6281738" y="1546226"/>
              <a:ext cx="115888" cy="114300"/>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2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8" y="49"/>
                    <a:pt x="273" y="18"/>
                  </a:cubicBezTo>
                  <a:cubicBezTo>
                    <a:pt x="248" y="6"/>
                    <a:pt x="221" y="0"/>
                    <a:pt x="194" y="0"/>
                  </a:cubicBezTo>
                  <a:cubicBezTo>
                    <a:pt x="167" y="0"/>
                    <a:pt x="138" y="6"/>
                    <a:pt x="115" y="18"/>
                  </a:cubicBezTo>
                  <a:cubicBezTo>
                    <a:pt x="50" y="47"/>
                    <a:pt x="2" y="115"/>
                    <a:pt x="2" y="194"/>
                  </a:cubicBezTo>
                  <a:cubicBezTo>
                    <a:pt x="0" y="300"/>
                    <a:pt x="88" y="385"/>
                    <a:pt x="194" y="385"/>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66">
              <a:extLst>
                <a:ext uri="{FF2B5EF4-FFF2-40B4-BE49-F238E27FC236}">
                  <a16:creationId xmlns:a16="http://schemas.microsoft.com/office/drawing/2014/main" id="{8D0288D2-91F2-47C3-8CA1-40EB798428B8}"/>
                </a:ext>
              </a:extLst>
            </p:cNvPr>
            <p:cNvSpPr>
              <a:spLocks/>
            </p:cNvSpPr>
            <p:nvPr/>
          </p:nvSpPr>
          <p:spPr bwMode="auto">
            <a:xfrm>
              <a:off x="6253163" y="1673226"/>
              <a:ext cx="173038" cy="87313"/>
            </a:xfrm>
            <a:custGeom>
              <a:avLst/>
              <a:gdLst>
                <a:gd name="T0" fmla="*/ 289 w 578"/>
                <a:gd name="T1" fmla="*/ 0 h 289"/>
                <a:gd name="T2" fmla="*/ 0 w 578"/>
                <a:gd name="T3" fmla="*/ 289 h 289"/>
                <a:gd name="T4" fmla="*/ 578 w 578"/>
                <a:gd name="T5" fmla="*/ 289 h 289"/>
                <a:gd name="T6" fmla="*/ 289 w 578"/>
                <a:gd name="T7" fmla="*/ 0 h 289"/>
              </a:gdLst>
              <a:ahLst/>
              <a:cxnLst>
                <a:cxn ang="0">
                  <a:pos x="T0" y="T1"/>
                </a:cxn>
                <a:cxn ang="0">
                  <a:pos x="T2" y="T3"/>
                </a:cxn>
                <a:cxn ang="0">
                  <a:pos x="T4" y="T5"/>
                </a:cxn>
                <a:cxn ang="0">
                  <a:pos x="T6" y="T7"/>
                </a:cxn>
              </a:cxnLst>
              <a:rect l="0" t="0" r="r" b="b"/>
              <a:pathLst>
                <a:path w="578" h="289">
                  <a:moveTo>
                    <a:pt x="289" y="0"/>
                  </a:moveTo>
                  <a:cubicBezTo>
                    <a:pt x="129" y="0"/>
                    <a:pt x="0" y="129"/>
                    <a:pt x="0" y="289"/>
                  </a:cubicBezTo>
                  <a:lnTo>
                    <a:pt x="578" y="289"/>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67">
              <a:extLst>
                <a:ext uri="{FF2B5EF4-FFF2-40B4-BE49-F238E27FC236}">
                  <a16:creationId xmlns:a16="http://schemas.microsoft.com/office/drawing/2014/main" id="{9649137B-EBCA-4AD8-81DE-FC3E85A84D09}"/>
                </a:ext>
              </a:extLst>
            </p:cNvPr>
            <p:cNvSpPr>
              <a:spLocks/>
            </p:cNvSpPr>
            <p:nvPr/>
          </p:nvSpPr>
          <p:spPr bwMode="auto">
            <a:xfrm>
              <a:off x="6161088" y="1703388"/>
              <a:ext cx="79375" cy="57150"/>
            </a:xfrm>
            <a:custGeom>
              <a:avLst/>
              <a:gdLst>
                <a:gd name="T0" fmla="*/ 0 w 268"/>
                <a:gd name="T1" fmla="*/ 194 h 194"/>
                <a:gd name="T2" fmla="*/ 225 w 268"/>
                <a:gd name="T3" fmla="*/ 194 h 194"/>
                <a:gd name="T4" fmla="*/ 268 w 268"/>
                <a:gd name="T5" fmla="*/ 18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3"/>
                    <a:pt x="268" y="18"/>
                  </a:cubicBezTo>
                  <a:cubicBezTo>
                    <a:pt x="246" y="7"/>
                    <a:pt x="219" y="3"/>
                    <a:pt x="192" y="3"/>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8">
              <a:extLst>
                <a:ext uri="{FF2B5EF4-FFF2-40B4-BE49-F238E27FC236}">
                  <a16:creationId xmlns:a16="http://schemas.microsoft.com/office/drawing/2014/main" id="{064CBC0E-BFBA-483F-8015-6CDB86B53D41}"/>
                </a:ext>
              </a:extLst>
            </p:cNvPr>
            <p:cNvSpPr>
              <a:spLocks/>
            </p:cNvSpPr>
            <p:nvPr/>
          </p:nvSpPr>
          <p:spPr bwMode="auto">
            <a:xfrm>
              <a:off x="6173788" y="1603376"/>
              <a:ext cx="87313" cy="85725"/>
            </a:xfrm>
            <a:custGeom>
              <a:avLst/>
              <a:gdLst>
                <a:gd name="T0" fmla="*/ 145 w 289"/>
                <a:gd name="T1" fmla="*/ 0 h 288"/>
                <a:gd name="T2" fmla="*/ 0 w 289"/>
                <a:gd name="T3" fmla="*/ 144 h 288"/>
                <a:gd name="T4" fmla="*/ 52 w 289"/>
                <a:gd name="T5" fmla="*/ 254 h 288"/>
                <a:gd name="T6" fmla="*/ 136 w 289"/>
                <a:gd name="T7" fmla="*/ 288 h 288"/>
                <a:gd name="T8" fmla="*/ 145 w 289"/>
                <a:gd name="T9" fmla="*/ 288 h 288"/>
                <a:gd name="T10" fmla="*/ 154 w 289"/>
                <a:gd name="T11" fmla="*/ 288 h 288"/>
                <a:gd name="T12" fmla="*/ 237 w 289"/>
                <a:gd name="T13" fmla="*/ 254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0" y="227"/>
                    <a:pt x="52" y="254"/>
                  </a:cubicBezTo>
                  <a:cubicBezTo>
                    <a:pt x="75" y="275"/>
                    <a:pt x="104" y="286"/>
                    <a:pt x="136" y="288"/>
                  </a:cubicBezTo>
                  <a:cubicBezTo>
                    <a:pt x="138" y="288"/>
                    <a:pt x="140" y="288"/>
                    <a:pt x="145" y="288"/>
                  </a:cubicBezTo>
                  <a:cubicBezTo>
                    <a:pt x="147" y="288"/>
                    <a:pt x="149" y="288"/>
                    <a:pt x="154" y="288"/>
                  </a:cubicBezTo>
                  <a:cubicBezTo>
                    <a:pt x="185" y="286"/>
                    <a:pt x="214" y="275"/>
                    <a:pt x="237" y="254"/>
                  </a:cubicBezTo>
                  <a:cubicBezTo>
                    <a:pt x="269" y="227"/>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98">
              <a:extLst>
                <a:ext uri="{FF2B5EF4-FFF2-40B4-BE49-F238E27FC236}">
                  <a16:creationId xmlns:a16="http://schemas.microsoft.com/office/drawing/2014/main" id="{51E3B6CD-699A-43DC-8469-D907414D6F0B}"/>
                </a:ext>
              </a:extLst>
            </p:cNvPr>
            <p:cNvSpPr>
              <a:spLocks/>
            </p:cNvSpPr>
            <p:nvPr/>
          </p:nvSpPr>
          <p:spPr bwMode="auto">
            <a:xfrm>
              <a:off x="5924550" y="1974851"/>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99">
              <a:extLst>
                <a:ext uri="{FF2B5EF4-FFF2-40B4-BE49-F238E27FC236}">
                  <a16:creationId xmlns:a16="http://schemas.microsoft.com/office/drawing/2014/main" id="{208B4F71-F306-48E4-AAA6-7FB3722B54D1}"/>
                </a:ext>
              </a:extLst>
            </p:cNvPr>
            <p:cNvSpPr>
              <a:spLocks/>
            </p:cNvSpPr>
            <p:nvPr/>
          </p:nvSpPr>
          <p:spPr bwMode="auto">
            <a:xfrm>
              <a:off x="5924550" y="1974851"/>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Rectangle 200">
              <a:extLst>
                <a:ext uri="{FF2B5EF4-FFF2-40B4-BE49-F238E27FC236}">
                  <a16:creationId xmlns:a16="http://schemas.microsoft.com/office/drawing/2014/main" id="{71B309CE-864B-439D-B807-19B2474E4E76}"/>
                </a:ext>
              </a:extLst>
            </p:cNvPr>
            <p:cNvSpPr>
              <a:spLocks noChangeArrowheads="1"/>
            </p:cNvSpPr>
            <p:nvPr/>
          </p:nvSpPr>
          <p:spPr bwMode="auto">
            <a:xfrm>
              <a:off x="6119813" y="1995488"/>
              <a:ext cx="6969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Disposi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 name="Rectangle 201">
              <a:extLst>
                <a:ext uri="{FF2B5EF4-FFF2-40B4-BE49-F238E27FC236}">
                  <a16:creationId xmlns:a16="http://schemas.microsoft.com/office/drawing/2014/main" id="{82725659-10AF-48CF-AC8B-B0BFB0B83858}"/>
                </a:ext>
              </a:extLst>
            </p:cNvPr>
            <p:cNvSpPr>
              <a:spLocks noChangeArrowheads="1"/>
            </p:cNvSpPr>
            <p:nvPr/>
          </p:nvSpPr>
          <p:spPr bwMode="auto">
            <a:xfrm>
              <a:off x="6221413" y="2147888"/>
              <a:ext cx="476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vie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 name="Line 202">
              <a:extLst>
                <a:ext uri="{FF2B5EF4-FFF2-40B4-BE49-F238E27FC236}">
                  <a16:creationId xmlns:a16="http://schemas.microsoft.com/office/drawing/2014/main" id="{0636EBD2-970E-40D9-9BA5-28984512F67E}"/>
                </a:ext>
              </a:extLst>
            </p:cNvPr>
            <p:cNvSpPr>
              <a:spLocks noChangeShapeType="1"/>
            </p:cNvSpPr>
            <p:nvPr/>
          </p:nvSpPr>
          <p:spPr bwMode="auto">
            <a:xfrm>
              <a:off x="5213350" y="979488"/>
              <a:ext cx="963613" cy="95091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Freeform 203">
              <a:extLst>
                <a:ext uri="{FF2B5EF4-FFF2-40B4-BE49-F238E27FC236}">
                  <a16:creationId xmlns:a16="http://schemas.microsoft.com/office/drawing/2014/main" id="{9E1791EE-CE46-455B-A369-E56F77A9264B}"/>
                </a:ext>
              </a:extLst>
            </p:cNvPr>
            <p:cNvSpPr>
              <a:spLocks/>
            </p:cNvSpPr>
            <p:nvPr/>
          </p:nvSpPr>
          <p:spPr bwMode="auto">
            <a:xfrm>
              <a:off x="6134100" y="1885951"/>
              <a:ext cx="87313" cy="88900"/>
            </a:xfrm>
            <a:custGeom>
              <a:avLst/>
              <a:gdLst>
                <a:gd name="T0" fmla="*/ 297 w 297"/>
                <a:gd name="T1" fmla="*/ 295 h 295"/>
                <a:gd name="T2" fmla="*/ 0 w 297"/>
                <a:gd name="T3" fmla="*/ 198 h 295"/>
                <a:gd name="T4" fmla="*/ 196 w 297"/>
                <a:gd name="T5" fmla="*/ 0 h 295"/>
                <a:gd name="T6" fmla="*/ 297 w 297"/>
                <a:gd name="T7" fmla="*/ 295 h 295"/>
              </a:gdLst>
              <a:ahLst/>
              <a:cxnLst>
                <a:cxn ang="0">
                  <a:pos x="T0" y="T1"/>
                </a:cxn>
                <a:cxn ang="0">
                  <a:pos x="T2" y="T3"/>
                </a:cxn>
                <a:cxn ang="0">
                  <a:pos x="T4" y="T5"/>
                </a:cxn>
                <a:cxn ang="0">
                  <a:pos x="T6" y="T7"/>
                </a:cxn>
              </a:cxnLst>
              <a:rect l="0" t="0" r="r" b="b"/>
              <a:pathLst>
                <a:path w="297" h="295">
                  <a:moveTo>
                    <a:pt x="297" y="295"/>
                  </a:moveTo>
                  <a:lnTo>
                    <a:pt x="0" y="198"/>
                  </a:lnTo>
                  <a:cubicBezTo>
                    <a:pt x="93" y="167"/>
                    <a:pt x="166" y="93"/>
                    <a:pt x="196" y="0"/>
                  </a:cubicBezTo>
                  <a:lnTo>
                    <a:pt x="297" y="29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Rectangle 217">
              <a:extLst>
                <a:ext uri="{FF2B5EF4-FFF2-40B4-BE49-F238E27FC236}">
                  <a16:creationId xmlns:a16="http://schemas.microsoft.com/office/drawing/2014/main" id="{10D549B1-7BE7-40CA-BAA9-08857B04CA0E}"/>
                </a:ext>
              </a:extLst>
            </p:cNvPr>
            <p:cNvSpPr>
              <a:spLocks noChangeArrowheads="1"/>
            </p:cNvSpPr>
            <p:nvPr/>
          </p:nvSpPr>
          <p:spPr bwMode="auto">
            <a:xfrm>
              <a:off x="6465888" y="2344738"/>
              <a:ext cx="13398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 retention label may reques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 name="Rectangle 218">
              <a:extLst>
                <a:ext uri="{FF2B5EF4-FFF2-40B4-BE49-F238E27FC236}">
                  <a16:creationId xmlns:a16="http://schemas.microsoft.com/office/drawing/2014/main" id="{E4242D25-E2E4-4897-B214-2D2E761B1747}"/>
                </a:ext>
              </a:extLst>
            </p:cNvPr>
            <p:cNvSpPr>
              <a:spLocks noChangeArrowheads="1"/>
            </p:cNvSpPr>
            <p:nvPr/>
          </p:nvSpPr>
          <p:spPr bwMode="auto">
            <a:xfrm>
              <a:off x="6276975" y="2489201"/>
              <a:ext cx="16827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n explicit review before deleting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 name="Freeform 222">
              <a:extLst>
                <a:ext uri="{FF2B5EF4-FFF2-40B4-BE49-F238E27FC236}">
                  <a16:creationId xmlns:a16="http://schemas.microsoft.com/office/drawing/2014/main" id="{86401BC0-90DA-44CE-B417-8ED20D40FA9F}"/>
                </a:ext>
              </a:extLst>
            </p:cNvPr>
            <p:cNvSpPr>
              <a:spLocks noEditPoints="1"/>
            </p:cNvSpPr>
            <p:nvPr/>
          </p:nvSpPr>
          <p:spPr bwMode="auto">
            <a:xfrm>
              <a:off x="5264150" y="2381251"/>
              <a:ext cx="1079500" cy="793750"/>
            </a:xfrm>
            <a:custGeom>
              <a:avLst/>
              <a:gdLst>
                <a:gd name="T0" fmla="*/ 189 w 3623"/>
                <a:gd name="T1" fmla="*/ 2503 h 2666"/>
                <a:gd name="T2" fmla="*/ 208 w 3623"/>
                <a:gd name="T3" fmla="*/ 2529 h 2666"/>
                <a:gd name="T4" fmla="*/ 5 w 3623"/>
                <a:gd name="T5" fmla="*/ 2658 h 2666"/>
                <a:gd name="T6" fmla="*/ 318 w 3623"/>
                <a:gd name="T7" fmla="*/ 2408 h 2666"/>
                <a:gd name="T8" fmla="*/ 521 w 3623"/>
                <a:gd name="T9" fmla="*/ 2279 h 2666"/>
                <a:gd name="T10" fmla="*/ 337 w 3623"/>
                <a:gd name="T11" fmla="*/ 2434 h 2666"/>
                <a:gd name="T12" fmla="*/ 318 w 3623"/>
                <a:gd name="T13" fmla="*/ 2408 h 2666"/>
                <a:gd name="T14" fmla="*/ 808 w 3623"/>
                <a:gd name="T15" fmla="*/ 2049 h 2666"/>
                <a:gd name="T16" fmla="*/ 827 w 3623"/>
                <a:gd name="T17" fmla="*/ 2074 h 2666"/>
                <a:gd name="T18" fmla="*/ 624 w 3623"/>
                <a:gd name="T19" fmla="*/ 2203 h 2666"/>
                <a:gd name="T20" fmla="*/ 937 w 3623"/>
                <a:gd name="T21" fmla="*/ 1954 h 2666"/>
                <a:gd name="T22" fmla="*/ 1140 w 3623"/>
                <a:gd name="T23" fmla="*/ 1825 h 2666"/>
                <a:gd name="T24" fmla="*/ 956 w 3623"/>
                <a:gd name="T25" fmla="*/ 1980 h 2666"/>
                <a:gd name="T26" fmla="*/ 937 w 3623"/>
                <a:gd name="T27" fmla="*/ 1954 h 2666"/>
                <a:gd name="T28" fmla="*/ 1428 w 3623"/>
                <a:gd name="T29" fmla="*/ 1594 h 2666"/>
                <a:gd name="T30" fmla="*/ 1447 w 3623"/>
                <a:gd name="T31" fmla="*/ 1620 h 2666"/>
                <a:gd name="T32" fmla="*/ 1244 w 3623"/>
                <a:gd name="T33" fmla="*/ 1749 h 2666"/>
                <a:gd name="T34" fmla="*/ 1557 w 3623"/>
                <a:gd name="T35" fmla="*/ 1500 h 2666"/>
                <a:gd name="T36" fmla="*/ 1760 w 3623"/>
                <a:gd name="T37" fmla="*/ 1371 h 2666"/>
                <a:gd name="T38" fmla="*/ 1576 w 3623"/>
                <a:gd name="T39" fmla="*/ 1526 h 2666"/>
                <a:gd name="T40" fmla="*/ 1557 w 3623"/>
                <a:gd name="T41" fmla="*/ 1500 h 2666"/>
                <a:gd name="T42" fmla="*/ 2047 w 3623"/>
                <a:gd name="T43" fmla="*/ 1140 h 2666"/>
                <a:gd name="T44" fmla="*/ 2066 w 3623"/>
                <a:gd name="T45" fmla="*/ 1166 h 2666"/>
                <a:gd name="T46" fmla="*/ 1863 w 3623"/>
                <a:gd name="T47" fmla="*/ 1295 h 2666"/>
                <a:gd name="T48" fmla="*/ 2176 w 3623"/>
                <a:gd name="T49" fmla="*/ 1046 h 2666"/>
                <a:gd name="T50" fmla="*/ 2379 w 3623"/>
                <a:gd name="T51" fmla="*/ 917 h 2666"/>
                <a:gd name="T52" fmla="*/ 2195 w 3623"/>
                <a:gd name="T53" fmla="*/ 1072 h 2666"/>
                <a:gd name="T54" fmla="*/ 2176 w 3623"/>
                <a:gd name="T55" fmla="*/ 1046 h 2666"/>
                <a:gd name="T56" fmla="*/ 2666 w 3623"/>
                <a:gd name="T57" fmla="*/ 686 h 2666"/>
                <a:gd name="T58" fmla="*/ 2685 w 3623"/>
                <a:gd name="T59" fmla="*/ 712 h 2666"/>
                <a:gd name="T60" fmla="*/ 2482 w 3623"/>
                <a:gd name="T61" fmla="*/ 841 h 2666"/>
                <a:gd name="T62" fmla="*/ 2795 w 3623"/>
                <a:gd name="T63" fmla="*/ 592 h 2666"/>
                <a:gd name="T64" fmla="*/ 2998 w 3623"/>
                <a:gd name="T65" fmla="*/ 463 h 2666"/>
                <a:gd name="T66" fmla="*/ 2814 w 3623"/>
                <a:gd name="T67" fmla="*/ 617 h 2666"/>
                <a:gd name="T68" fmla="*/ 2795 w 3623"/>
                <a:gd name="T69" fmla="*/ 592 h 2666"/>
                <a:gd name="T70" fmla="*/ 3286 w 3623"/>
                <a:gd name="T71" fmla="*/ 232 h 2666"/>
                <a:gd name="T72" fmla="*/ 3305 w 3623"/>
                <a:gd name="T73" fmla="*/ 258 h 2666"/>
                <a:gd name="T74" fmla="*/ 3102 w 3623"/>
                <a:gd name="T75" fmla="*/ 387 h 2666"/>
                <a:gd name="T76" fmla="*/ 3415 w 3623"/>
                <a:gd name="T77" fmla="*/ 137 h 2666"/>
                <a:gd name="T78" fmla="*/ 3618 w 3623"/>
                <a:gd name="T79" fmla="*/ 8 h 2666"/>
                <a:gd name="T80" fmla="*/ 3434 w 3623"/>
                <a:gd name="T81" fmla="*/ 163 h 2666"/>
                <a:gd name="T82" fmla="*/ 3415 w 3623"/>
                <a:gd name="T83" fmla="*/ 137 h 2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3" h="2666">
                  <a:moveTo>
                    <a:pt x="8" y="2635"/>
                  </a:moveTo>
                  <a:lnTo>
                    <a:pt x="189" y="2503"/>
                  </a:lnTo>
                  <a:cubicBezTo>
                    <a:pt x="196" y="2497"/>
                    <a:pt x="206" y="2499"/>
                    <a:pt x="211" y="2506"/>
                  </a:cubicBezTo>
                  <a:cubicBezTo>
                    <a:pt x="217" y="2513"/>
                    <a:pt x="215" y="2523"/>
                    <a:pt x="208" y="2529"/>
                  </a:cubicBezTo>
                  <a:lnTo>
                    <a:pt x="27" y="2661"/>
                  </a:lnTo>
                  <a:cubicBezTo>
                    <a:pt x="20" y="2666"/>
                    <a:pt x="10" y="2665"/>
                    <a:pt x="5" y="2658"/>
                  </a:cubicBezTo>
                  <a:cubicBezTo>
                    <a:pt x="0" y="2650"/>
                    <a:pt x="1" y="2640"/>
                    <a:pt x="8" y="2635"/>
                  </a:cubicBezTo>
                  <a:close/>
                  <a:moveTo>
                    <a:pt x="318" y="2408"/>
                  </a:moveTo>
                  <a:lnTo>
                    <a:pt x="499" y="2276"/>
                  </a:lnTo>
                  <a:cubicBezTo>
                    <a:pt x="506" y="2270"/>
                    <a:pt x="516" y="2272"/>
                    <a:pt x="521" y="2279"/>
                  </a:cubicBezTo>
                  <a:cubicBezTo>
                    <a:pt x="526" y="2286"/>
                    <a:pt x="525" y="2296"/>
                    <a:pt x="518" y="2301"/>
                  </a:cubicBezTo>
                  <a:lnTo>
                    <a:pt x="337" y="2434"/>
                  </a:lnTo>
                  <a:cubicBezTo>
                    <a:pt x="330" y="2439"/>
                    <a:pt x="320" y="2438"/>
                    <a:pt x="315" y="2430"/>
                  </a:cubicBezTo>
                  <a:cubicBezTo>
                    <a:pt x="309" y="2423"/>
                    <a:pt x="311" y="2413"/>
                    <a:pt x="318" y="2408"/>
                  </a:cubicBezTo>
                  <a:close/>
                  <a:moveTo>
                    <a:pt x="628" y="2181"/>
                  </a:moveTo>
                  <a:lnTo>
                    <a:pt x="808" y="2049"/>
                  </a:lnTo>
                  <a:cubicBezTo>
                    <a:pt x="815" y="2043"/>
                    <a:pt x="825" y="2045"/>
                    <a:pt x="831" y="2052"/>
                  </a:cubicBezTo>
                  <a:cubicBezTo>
                    <a:pt x="836" y="2059"/>
                    <a:pt x="834" y="2069"/>
                    <a:pt x="827" y="2074"/>
                  </a:cubicBezTo>
                  <a:lnTo>
                    <a:pt x="647" y="2207"/>
                  </a:lnTo>
                  <a:cubicBezTo>
                    <a:pt x="639" y="2212"/>
                    <a:pt x="629" y="2211"/>
                    <a:pt x="624" y="2203"/>
                  </a:cubicBezTo>
                  <a:cubicBezTo>
                    <a:pt x="619" y="2196"/>
                    <a:pt x="621" y="2186"/>
                    <a:pt x="628" y="2181"/>
                  </a:cubicBezTo>
                  <a:close/>
                  <a:moveTo>
                    <a:pt x="937" y="1954"/>
                  </a:moveTo>
                  <a:lnTo>
                    <a:pt x="1118" y="1822"/>
                  </a:lnTo>
                  <a:cubicBezTo>
                    <a:pt x="1125" y="1816"/>
                    <a:pt x="1135" y="1818"/>
                    <a:pt x="1140" y="1825"/>
                  </a:cubicBezTo>
                  <a:cubicBezTo>
                    <a:pt x="1146" y="1832"/>
                    <a:pt x="1144" y="1842"/>
                    <a:pt x="1137" y="1847"/>
                  </a:cubicBezTo>
                  <a:lnTo>
                    <a:pt x="956" y="1980"/>
                  </a:lnTo>
                  <a:cubicBezTo>
                    <a:pt x="949" y="1985"/>
                    <a:pt x="939" y="1983"/>
                    <a:pt x="934" y="1976"/>
                  </a:cubicBezTo>
                  <a:cubicBezTo>
                    <a:pt x="929" y="1969"/>
                    <a:pt x="930" y="1959"/>
                    <a:pt x="937" y="1954"/>
                  </a:cubicBezTo>
                  <a:close/>
                  <a:moveTo>
                    <a:pt x="1247" y="1727"/>
                  </a:moveTo>
                  <a:lnTo>
                    <a:pt x="1428" y="1594"/>
                  </a:lnTo>
                  <a:cubicBezTo>
                    <a:pt x="1435" y="1589"/>
                    <a:pt x="1445" y="1591"/>
                    <a:pt x="1450" y="1598"/>
                  </a:cubicBezTo>
                  <a:cubicBezTo>
                    <a:pt x="1455" y="1605"/>
                    <a:pt x="1454" y="1615"/>
                    <a:pt x="1447" y="1620"/>
                  </a:cubicBezTo>
                  <a:lnTo>
                    <a:pt x="1266" y="1753"/>
                  </a:lnTo>
                  <a:cubicBezTo>
                    <a:pt x="1259" y="1758"/>
                    <a:pt x="1249" y="1756"/>
                    <a:pt x="1244" y="1749"/>
                  </a:cubicBezTo>
                  <a:cubicBezTo>
                    <a:pt x="1238" y="1742"/>
                    <a:pt x="1240" y="1732"/>
                    <a:pt x="1247" y="1727"/>
                  </a:cubicBezTo>
                  <a:close/>
                  <a:moveTo>
                    <a:pt x="1557" y="1500"/>
                  </a:moveTo>
                  <a:lnTo>
                    <a:pt x="1737" y="1367"/>
                  </a:lnTo>
                  <a:cubicBezTo>
                    <a:pt x="1744" y="1362"/>
                    <a:pt x="1754" y="1364"/>
                    <a:pt x="1760" y="1371"/>
                  </a:cubicBezTo>
                  <a:cubicBezTo>
                    <a:pt x="1765" y="1378"/>
                    <a:pt x="1763" y="1388"/>
                    <a:pt x="1756" y="1393"/>
                  </a:cubicBezTo>
                  <a:lnTo>
                    <a:pt x="1576" y="1526"/>
                  </a:lnTo>
                  <a:cubicBezTo>
                    <a:pt x="1568" y="1531"/>
                    <a:pt x="1558" y="1529"/>
                    <a:pt x="1553" y="1522"/>
                  </a:cubicBezTo>
                  <a:cubicBezTo>
                    <a:pt x="1548" y="1515"/>
                    <a:pt x="1550" y="1505"/>
                    <a:pt x="1557" y="1500"/>
                  </a:cubicBezTo>
                  <a:close/>
                  <a:moveTo>
                    <a:pt x="1866" y="1273"/>
                  </a:moveTo>
                  <a:lnTo>
                    <a:pt x="2047" y="1140"/>
                  </a:lnTo>
                  <a:cubicBezTo>
                    <a:pt x="2054" y="1135"/>
                    <a:pt x="2064" y="1137"/>
                    <a:pt x="2069" y="1144"/>
                  </a:cubicBezTo>
                  <a:cubicBezTo>
                    <a:pt x="2075" y="1151"/>
                    <a:pt x="2073" y="1161"/>
                    <a:pt x="2066" y="1166"/>
                  </a:cubicBezTo>
                  <a:lnTo>
                    <a:pt x="1885" y="1299"/>
                  </a:lnTo>
                  <a:cubicBezTo>
                    <a:pt x="1878" y="1304"/>
                    <a:pt x="1868" y="1302"/>
                    <a:pt x="1863" y="1295"/>
                  </a:cubicBezTo>
                  <a:cubicBezTo>
                    <a:pt x="1858" y="1288"/>
                    <a:pt x="1859" y="1278"/>
                    <a:pt x="1866" y="1273"/>
                  </a:cubicBezTo>
                  <a:close/>
                  <a:moveTo>
                    <a:pt x="2176" y="1046"/>
                  </a:moveTo>
                  <a:lnTo>
                    <a:pt x="2357" y="913"/>
                  </a:lnTo>
                  <a:cubicBezTo>
                    <a:pt x="2364" y="908"/>
                    <a:pt x="2374" y="910"/>
                    <a:pt x="2379" y="917"/>
                  </a:cubicBezTo>
                  <a:cubicBezTo>
                    <a:pt x="2384" y="924"/>
                    <a:pt x="2383" y="934"/>
                    <a:pt x="2376" y="939"/>
                  </a:cubicBezTo>
                  <a:lnTo>
                    <a:pt x="2195" y="1072"/>
                  </a:lnTo>
                  <a:cubicBezTo>
                    <a:pt x="2188" y="1077"/>
                    <a:pt x="2178" y="1075"/>
                    <a:pt x="2173" y="1068"/>
                  </a:cubicBezTo>
                  <a:cubicBezTo>
                    <a:pt x="2167" y="1061"/>
                    <a:pt x="2169" y="1051"/>
                    <a:pt x="2176" y="1046"/>
                  </a:cubicBezTo>
                  <a:close/>
                  <a:moveTo>
                    <a:pt x="2486" y="819"/>
                  </a:moveTo>
                  <a:lnTo>
                    <a:pt x="2666" y="686"/>
                  </a:lnTo>
                  <a:cubicBezTo>
                    <a:pt x="2673" y="681"/>
                    <a:pt x="2684" y="683"/>
                    <a:pt x="2689" y="690"/>
                  </a:cubicBezTo>
                  <a:cubicBezTo>
                    <a:pt x="2694" y="697"/>
                    <a:pt x="2692" y="707"/>
                    <a:pt x="2685" y="712"/>
                  </a:cubicBezTo>
                  <a:lnTo>
                    <a:pt x="2505" y="844"/>
                  </a:lnTo>
                  <a:cubicBezTo>
                    <a:pt x="2498" y="850"/>
                    <a:pt x="2488" y="848"/>
                    <a:pt x="2482" y="841"/>
                  </a:cubicBezTo>
                  <a:cubicBezTo>
                    <a:pt x="2477" y="834"/>
                    <a:pt x="2479" y="824"/>
                    <a:pt x="2486" y="819"/>
                  </a:cubicBezTo>
                  <a:close/>
                  <a:moveTo>
                    <a:pt x="2795" y="592"/>
                  </a:moveTo>
                  <a:lnTo>
                    <a:pt x="2976" y="459"/>
                  </a:lnTo>
                  <a:cubicBezTo>
                    <a:pt x="2983" y="454"/>
                    <a:pt x="2993" y="455"/>
                    <a:pt x="2998" y="463"/>
                  </a:cubicBezTo>
                  <a:cubicBezTo>
                    <a:pt x="3004" y="470"/>
                    <a:pt x="3002" y="480"/>
                    <a:pt x="2995" y="485"/>
                  </a:cubicBezTo>
                  <a:lnTo>
                    <a:pt x="2814" y="617"/>
                  </a:lnTo>
                  <a:cubicBezTo>
                    <a:pt x="2807" y="623"/>
                    <a:pt x="2797" y="621"/>
                    <a:pt x="2792" y="614"/>
                  </a:cubicBezTo>
                  <a:cubicBezTo>
                    <a:pt x="2787" y="607"/>
                    <a:pt x="2788" y="597"/>
                    <a:pt x="2795" y="592"/>
                  </a:cubicBezTo>
                  <a:close/>
                  <a:moveTo>
                    <a:pt x="3105" y="365"/>
                  </a:moveTo>
                  <a:lnTo>
                    <a:pt x="3286" y="232"/>
                  </a:lnTo>
                  <a:cubicBezTo>
                    <a:pt x="3293" y="227"/>
                    <a:pt x="3303" y="228"/>
                    <a:pt x="3308" y="236"/>
                  </a:cubicBezTo>
                  <a:cubicBezTo>
                    <a:pt x="3313" y="243"/>
                    <a:pt x="3312" y="253"/>
                    <a:pt x="3305" y="258"/>
                  </a:cubicBezTo>
                  <a:lnTo>
                    <a:pt x="3124" y="390"/>
                  </a:lnTo>
                  <a:cubicBezTo>
                    <a:pt x="3117" y="396"/>
                    <a:pt x="3107" y="394"/>
                    <a:pt x="3102" y="387"/>
                  </a:cubicBezTo>
                  <a:cubicBezTo>
                    <a:pt x="3096" y="380"/>
                    <a:pt x="3098" y="370"/>
                    <a:pt x="3105" y="365"/>
                  </a:cubicBezTo>
                  <a:close/>
                  <a:moveTo>
                    <a:pt x="3415" y="137"/>
                  </a:moveTo>
                  <a:lnTo>
                    <a:pt x="3595" y="5"/>
                  </a:lnTo>
                  <a:cubicBezTo>
                    <a:pt x="3603" y="0"/>
                    <a:pt x="3613" y="1"/>
                    <a:pt x="3618" y="8"/>
                  </a:cubicBezTo>
                  <a:cubicBezTo>
                    <a:pt x="3623" y="16"/>
                    <a:pt x="3621" y="26"/>
                    <a:pt x="3614" y="31"/>
                  </a:cubicBezTo>
                  <a:lnTo>
                    <a:pt x="3434" y="163"/>
                  </a:lnTo>
                  <a:cubicBezTo>
                    <a:pt x="3427" y="168"/>
                    <a:pt x="3417" y="167"/>
                    <a:pt x="3411" y="160"/>
                  </a:cubicBezTo>
                  <a:cubicBezTo>
                    <a:pt x="3406" y="153"/>
                    <a:pt x="3408" y="143"/>
                    <a:pt x="3415" y="13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3">
              <a:extLst>
                <a:ext uri="{FF2B5EF4-FFF2-40B4-BE49-F238E27FC236}">
                  <a16:creationId xmlns:a16="http://schemas.microsoft.com/office/drawing/2014/main" id="{6738332F-A300-4FE8-8B2E-74E8F780787C}"/>
                </a:ext>
              </a:extLst>
            </p:cNvPr>
            <p:cNvSpPr>
              <a:spLocks/>
            </p:cNvSpPr>
            <p:nvPr/>
          </p:nvSpPr>
          <p:spPr bwMode="auto">
            <a:xfrm>
              <a:off x="6313488" y="2336801"/>
              <a:ext cx="92075" cy="82550"/>
            </a:xfrm>
            <a:custGeom>
              <a:avLst/>
              <a:gdLst>
                <a:gd name="T0" fmla="*/ 308 w 308"/>
                <a:gd name="T1" fmla="*/ 0 h 277"/>
                <a:gd name="T2" fmla="*/ 165 w 308"/>
                <a:gd name="T3" fmla="*/ 277 h 277"/>
                <a:gd name="T4" fmla="*/ 0 w 308"/>
                <a:gd name="T5" fmla="*/ 52 h 277"/>
                <a:gd name="T6" fmla="*/ 308 w 308"/>
                <a:gd name="T7" fmla="*/ 0 h 277"/>
              </a:gdLst>
              <a:ahLst/>
              <a:cxnLst>
                <a:cxn ang="0">
                  <a:pos x="T0" y="T1"/>
                </a:cxn>
                <a:cxn ang="0">
                  <a:pos x="T2" y="T3"/>
                </a:cxn>
                <a:cxn ang="0">
                  <a:pos x="T4" y="T5"/>
                </a:cxn>
                <a:cxn ang="0">
                  <a:pos x="T6" y="T7"/>
                </a:cxn>
              </a:cxnLst>
              <a:rect l="0" t="0" r="r" b="b"/>
              <a:pathLst>
                <a:path w="308" h="277">
                  <a:moveTo>
                    <a:pt x="308" y="0"/>
                  </a:moveTo>
                  <a:lnTo>
                    <a:pt x="165" y="277"/>
                  </a:lnTo>
                  <a:cubicBezTo>
                    <a:pt x="149" y="181"/>
                    <a:pt x="87" y="97"/>
                    <a:pt x="0" y="52"/>
                  </a:cubicBezTo>
                  <a:lnTo>
                    <a:pt x="308"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 name="Group 3">
            <a:extLst>
              <a:ext uri="{FF2B5EF4-FFF2-40B4-BE49-F238E27FC236}">
                <a16:creationId xmlns:a16="http://schemas.microsoft.com/office/drawing/2014/main" id="{9A124BA6-370C-4677-B2C8-E30C58ADB439}"/>
              </a:ext>
            </a:extLst>
          </p:cNvPr>
          <p:cNvGrpSpPr/>
          <p:nvPr/>
        </p:nvGrpSpPr>
        <p:grpSpPr>
          <a:xfrm>
            <a:off x="4548188" y="979488"/>
            <a:ext cx="962025" cy="1381125"/>
            <a:chOff x="4548188" y="979488"/>
            <a:chExt cx="962025" cy="1381125"/>
          </a:xfrm>
        </p:grpSpPr>
        <p:grpSp>
          <p:nvGrpSpPr>
            <p:cNvPr id="14" name="Group 13">
              <a:extLst>
                <a:ext uri="{FF2B5EF4-FFF2-40B4-BE49-F238E27FC236}">
                  <a16:creationId xmlns:a16="http://schemas.microsoft.com/office/drawing/2014/main" id="{D7E97502-6A20-4269-B752-50C733E68D18}"/>
                </a:ext>
              </a:extLst>
            </p:cNvPr>
            <p:cNvGrpSpPr/>
            <p:nvPr/>
          </p:nvGrpSpPr>
          <p:grpSpPr>
            <a:xfrm>
              <a:off x="4548188" y="979488"/>
              <a:ext cx="962025" cy="1381125"/>
              <a:chOff x="4548188" y="979488"/>
              <a:chExt cx="962025" cy="1381125"/>
            </a:xfrm>
          </p:grpSpPr>
          <p:sp>
            <p:nvSpPr>
              <p:cNvPr id="15" name="Freeform 204">
                <a:extLst>
                  <a:ext uri="{FF2B5EF4-FFF2-40B4-BE49-F238E27FC236}">
                    <a16:creationId xmlns:a16="http://schemas.microsoft.com/office/drawing/2014/main" id="{185B88FE-A196-4ECC-8430-DFD6F9DCE752}"/>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05">
                <a:extLst>
                  <a:ext uri="{FF2B5EF4-FFF2-40B4-BE49-F238E27FC236}">
                    <a16:creationId xmlns:a16="http://schemas.microsoft.com/office/drawing/2014/main" id="{1EAB6240-23DF-48CF-B624-828E27A3FDDD}"/>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Rectangle 206">
                <a:extLst>
                  <a:ext uri="{FF2B5EF4-FFF2-40B4-BE49-F238E27FC236}">
                    <a16:creationId xmlns:a16="http://schemas.microsoft.com/office/drawing/2014/main" id="{5545BE2E-2F3B-4B5B-8395-5BC95088B290}"/>
                  </a:ext>
                </a:extLst>
              </p:cNvPr>
              <p:cNvSpPr>
                <a:spLocks noChangeArrowheads="1"/>
              </p:cNvSpPr>
              <p:nvPr/>
            </p:nvSpPr>
            <p:spPr bwMode="auto">
              <a:xfrm>
                <a:off x="4940300" y="2008188"/>
                <a:ext cx="268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Fil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 name="Rectangle 207">
                <a:extLst>
                  <a:ext uri="{FF2B5EF4-FFF2-40B4-BE49-F238E27FC236}">
                    <a16:creationId xmlns:a16="http://schemas.microsoft.com/office/drawing/2014/main" id="{0CFE4502-31AB-493F-AB67-3190CE0B2CB3}"/>
                  </a:ext>
                </a:extLst>
              </p:cNvPr>
              <p:cNvSpPr>
                <a:spLocks noChangeArrowheads="1"/>
              </p:cNvSpPr>
              <p:nvPr/>
            </p:nvSpPr>
            <p:spPr bwMode="auto">
              <a:xfrm>
                <a:off x="4919663" y="2160588"/>
                <a:ext cx="314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l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Line 208">
                <a:extLst>
                  <a:ext uri="{FF2B5EF4-FFF2-40B4-BE49-F238E27FC236}">
                    <a16:creationId xmlns:a16="http://schemas.microsoft.com/office/drawing/2014/main" id="{CFDF16D9-C9D5-4F34-AB0C-F05A83CC9342}"/>
                  </a:ext>
                </a:extLst>
              </p:cNvPr>
              <p:cNvSpPr>
                <a:spLocks noChangeShapeType="1"/>
              </p:cNvSpPr>
              <p:nvPr/>
            </p:nvSpPr>
            <p:spPr bwMode="auto">
              <a:xfrm>
                <a:off x="5029200" y="979488"/>
                <a:ext cx="0" cy="9445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209">
                <a:extLst>
                  <a:ext uri="{FF2B5EF4-FFF2-40B4-BE49-F238E27FC236}">
                    <a16:creationId xmlns:a16="http://schemas.microsoft.com/office/drawing/2014/main" id="{D1061C4B-1FBF-45F6-B7DE-0CE3CC1A4256}"/>
                  </a:ext>
                </a:extLst>
              </p:cNvPr>
              <p:cNvSpPr>
                <a:spLocks/>
              </p:cNvSpPr>
              <p:nvPr/>
            </p:nvSpPr>
            <p:spPr bwMode="auto">
              <a:xfrm>
                <a:off x="4987925" y="1903413"/>
                <a:ext cx="82550" cy="82550"/>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Freeform 204">
              <a:extLst>
                <a:ext uri="{FF2B5EF4-FFF2-40B4-BE49-F238E27FC236}">
                  <a16:creationId xmlns:a16="http://schemas.microsoft.com/office/drawing/2014/main" id="{1C84FF5A-0336-45D8-A5C9-2DDBC43E0E27}"/>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05">
              <a:extLst>
                <a:ext uri="{FF2B5EF4-FFF2-40B4-BE49-F238E27FC236}">
                  <a16:creationId xmlns:a16="http://schemas.microsoft.com/office/drawing/2014/main" id="{76D49065-D7AA-4425-89A0-68C32BFDAE73}"/>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Rectangle 206">
              <a:extLst>
                <a:ext uri="{FF2B5EF4-FFF2-40B4-BE49-F238E27FC236}">
                  <a16:creationId xmlns:a16="http://schemas.microsoft.com/office/drawing/2014/main" id="{BDF5DC63-437C-4556-8E67-4F6E688ED0A2}"/>
                </a:ext>
              </a:extLst>
            </p:cNvPr>
            <p:cNvSpPr>
              <a:spLocks noChangeArrowheads="1"/>
            </p:cNvSpPr>
            <p:nvPr/>
          </p:nvSpPr>
          <p:spPr bwMode="auto">
            <a:xfrm>
              <a:off x="4940300" y="2008188"/>
              <a:ext cx="268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Fil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Freeform 209">
              <a:extLst>
                <a:ext uri="{FF2B5EF4-FFF2-40B4-BE49-F238E27FC236}">
                  <a16:creationId xmlns:a16="http://schemas.microsoft.com/office/drawing/2014/main" id="{B4BC50AB-E6E1-48C3-911D-D32B745BAEAC}"/>
                </a:ext>
              </a:extLst>
            </p:cNvPr>
            <p:cNvSpPr>
              <a:spLocks/>
            </p:cNvSpPr>
            <p:nvPr/>
          </p:nvSpPr>
          <p:spPr bwMode="auto">
            <a:xfrm>
              <a:off x="4987925" y="1903413"/>
              <a:ext cx="82550" cy="82550"/>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Rectangle 207">
              <a:extLst>
                <a:ext uri="{FF2B5EF4-FFF2-40B4-BE49-F238E27FC236}">
                  <a16:creationId xmlns:a16="http://schemas.microsoft.com/office/drawing/2014/main" id="{E8D54055-1C25-43BA-A91C-13914B58B414}"/>
                </a:ext>
              </a:extLst>
            </p:cNvPr>
            <p:cNvSpPr>
              <a:spLocks noChangeArrowheads="1"/>
            </p:cNvSpPr>
            <p:nvPr/>
          </p:nvSpPr>
          <p:spPr bwMode="auto">
            <a:xfrm>
              <a:off x="4918676" y="2141908"/>
              <a:ext cx="314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Pla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7" name="Picture 6">
            <a:extLst>
              <a:ext uri="{FF2B5EF4-FFF2-40B4-BE49-F238E27FC236}">
                <a16:creationId xmlns:a16="http://schemas.microsoft.com/office/drawing/2014/main" id="{97B2AA88-EF09-B83A-42C1-C7E5C0DB7660}"/>
              </a:ext>
            </a:extLst>
          </p:cNvPr>
          <p:cNvPicPr>
            <a:picLocks noChangeAspect="1"/>
          </p:cNvPicPr>
          <p:nvPr/>
        </p:nvPicPr>
        <p:blipFill>
          <a:blip r:embed="rId2"/>
          <a:stretch>
            <a:fillRect/>
          </a:stretch>
        </p:blipFill>
        <p:spPr>
          <a:xfrm>
            <a:off x="5503863" y="3138488"/>
            <a:ext cx="2957513" cy="438150"/>
          </a:xfrm>
          <a:prstGeom prst="rect">
            <a:avLst/>
          </a:prstGeom>
        </p:spPr>
      </p:pic>
      <p:pic>
        <p:nvPicPr>
          <p:cNvPr id="9" name="Picture 8">
            <a:extLst>
              <a:ext uri="{FF2B5EF4-FFF2-40B4-BE49-F238E27FC236}">
                <a16:creationId xmlns:a16="http://schemas.microsoft.com/office/drawing/2014/main" id="{47E53429-B6EB-84BC-5FD9-17523316FC61}"/>
              </a:ext>
            </a:extLst>
          </p:cNvPr>
          <p:cNvPicPr>
            <a:picLocks noChangeAspect="1"/>
          </p:cNvPicPr>
          <p:nvPr/>
        </p:nvPicPr>
        <p:blipFill>
          <a:blip r:embed="rId3"/>
          <a:stretch>
            <a:fillRect/>
          </a:stretch>
        </p:blipFill>
        <p:spPr>
          <a:xfrm>
            <a:off x="5439415" y="3520767"/>
            <a:ext cx="2762250" cy="1090613"/>
          </a:xfrm>
          <a:prstGeom prst="rect">
            <a:avLst/>
          </a:prstGeom>
        </p:spPr>
      </p:pic>
      <p:pic>
        <p:nvPicPr>
          <p:cNvPr id="11" name="Picture 10">
            <a:extLst>
              <a:ext uri="{FF2B5EF4-FFF2-40B4-BE49-F238E27FC236}">
                <a16:creationId xmlns:a16="http://schemas.microsoft.com/office/drawing/2014/main" id="{4BD73236-BE1A-602B-48AA-3DAFDF49A85B}"/>
              </a:ext>
            </a:extLst>
          </p:cNvPr>
          <p:cNvPicPr>
            <a:picLocks noChangeAspect="1"/>
          </p:cNvPicPr>
          <p:nvPr/>
        </p:nvPicPr>
        <p:blipFill>
          <a:blip r:embed="rId4"/>
          <a:stretch>
            <a:fillRect/>
          </a:stretch>
        </p:blipFill>
        <p:spPr>
          <a:xfrm>
            <a:off x="2479930" y="3518753"/>
            <a:ext cx="2333625" cy="1543050"/>
          </a:xfrm>
          <a:prstGeom prst="rect">
            <a:avLst/>
          </a:prstGeom>
        </p:spPr>
      </p:pic>
      <p:pic>
        <p:nvPicPr>
          <p:cNvPr id="13" name="Picture 12">
            <a:extLst>
              <a:ext uri="{FF2B5EF4-FFF2-40B4-BE49-F238E27FC236}">
                <a16:creationId xmlns:a16="http://schemas.microsoft.com/office/drawing/2014/main" id="{E617C7EB-B865-1EFC-72B2-A7780748C909}"/>
              </a:ext>
            </a:extLst>
          </p:cNvPr>
          <p:cNvPicPr>
            <a:picLocks noChangeAspect="1"/>
          </p:cNvPicPr>
          <p:nvPr/>
        </p:nvPicPr>
        <p:blipFill>
          <a:blip r:embed="rId5"/>
          <a:stretch>
            <a:fillRect/>
          </a:stretch>
        </p:blipFill>
        <p:spPr>
          <a:xfrm>
            <a:off x="2479995" y="5227790"/>
            <a:ext cx="1228725" cy="1547813"/>
          </a:xfrm>
          <a:prstGeom prst="rect">
            <a:avLst/>
          </a:prstGeom>
        </p:spPr>
      </p:pic>
    </p:spTree>
    <p:extLst>
      <p:ext uri="{BB962C8B-B14F-4D97-AF65-F5344CB8AC3E}">
        <p14:creationId xmlns:p14="http://schemas.microsoft.com/office/powerpoint/2010/main" val="1278371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wipe(up)">
                                      <p:cBhvr>
                                        <p:cTn id="12" dur="10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wipe(left)">
                                      <p:cBhvr>
                                        <p:cTn id="17" dur="1000"/>
                                        <p:tgtEl>
                                          <p:spTgt spid="4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left)">
                                      <p:cBhvr>
                                        <p:cTn id="22" dur="10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10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wipe(up)">
                                      <p:cBhvr>
                                        <p:cTn id="32" dur="1000"/>
                                        <p:tgtEl>
                                          <p:spTgt spid="5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up)">
                                      <p:cBhvr>
                                        <p:cTn id="37" dur="10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ipe(up)">
                                      <p:cBhvr>
                                        <p:cTn id="42"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Labels - More</a:t>
            </a:r>
            <a:r>
              <a:rPr kumimoji="0" lang="en-US" sz="2000" b="0" i="0" u="none" strike="noStrike" kern="1200" cap="none" spc="0" normalizeH="0" baseline="0" noProof="0" dirty="0">
                <a:ln>
                  <a:noFill/>
                </a:ln>
                <a:solidFill>
                  <a:srgbClr val="FFFFFF"/>
                </a:solidFill>
                <a:effectLst/>
                <a:uLnTx/>
                <a:uFillTx/>
                <a:latin typeface="Segoe UI"/>
                <a:ea typeface="+mn-ea"/>
                <a:cs typeface="+mn-cs"/>
              </a:rPr>
              <a:t> Details</a:t>
            </a:r>
          </a:p>
        </p:txBody>
      </p:sp>
      <p:pic>
        <p:nvPicPr>
          <p:cNvPr id="5" name="Picture 4">
            <a:extLst>
              <a:ext uri="{FF2B5EF4-FFF2-40B4-BE49-F238E27FC236}">
                <a16:creationId xmlns:a16="http://schemas.microsoft.com/office/drawing/2014/main" id="{94201689-BD13-0049-F2C9-A84D2C8C4D6C}"/>
              </a:ext>
            </a:extLst>
          </p:cNvPr>
          <p:cNvPicPr>
            <a:picLocks noChangeAspect="1"/>
          </p:cNvPicPr>
          <p:nvPr/>
        </p:nvPicPr>
        <p:blipFill>
          <a:blip r:embed="rId2"/>
          <a:stretch>
            <a:fillRect/>
          </a:stretch>
        </p:blipFill>
        <p:spPr>
          <a:xfrm>
            <a:off x="683512" y="0"/>
            <a:ext cx="9761716" cy="6858000"/>
          </a:xfrm>
          <a:prstGeom prst="rect">
            <a:avLst/>
          </a:prstGeom>
        </p:spPr>
      </p:pic>
    </p:spTree>
    <p:extLst>
      <p:ext uri="{BB962C8B-B14F-4D97-AF65-F5344CB8AC3E}">
        <p14:creationId xmlns:p14="http://schemas.microsoft.com/office/powerpoint/2010/main" val="196955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E41846-DDDA-6D67-0198-194D35E2F1D5}"/>
              </a:ext>
            </a:extLst>
          </p:cNvPr>
          <p:cNvPicPr>
            <a:picLocks noChangeAspect="1"/>
          </p:cNvPicPr>
          <p:nvPr/>
        </p:nvPicPr>
        <p:blipFill>
          <a:blip r:embed="rId2"/>
          <a:stretch>
            <a:fillRect/>
          </a:stretch>
        </p:blipFill>
        <p:spPr>
          <a:xfrm>
            <a:off x="6601299" y="771881"/>
            <a:ext cx="3267075" cy="2314575"/>
          </a:xfrm>
          <a:prstGeom prst="rect">
            <a:avLst/>
          </a:prstGeom>
        </p:spPr>
      </p:pic>
      <p:pic>
        <p:nvPicPr>
          <p:cNvPr id="17" name="Picture 16">
            <a:extLst>
              <a:ext uri="{FF2B5EF4-FFF2-40B4-BE49-F238E27FC236}">
                <a16:creationId xmlns:a16="http://schemas.microsoft.com/office/drawing/2014/main" id="{5C2D6C9F-7809-1394-8AE8-945AB051EB5E}"/>
              </a:ext>
            </a:extLst>
          </p:cNvPr>
          <p:cNvPicPr>
            <a:picLocks noChangeAspect="1"/>
          </p:cNvPicPr>
          <p:nvPr/>
        </p:nvPicPr>
        <p:blipFill>
          <a:blip r:embed="rId3"/>
          <a:stretch>
            <a:fillRect/>
          </a:stretch>
        </p:blipFill>
        <p:spPr>
          <a:xfrm>
            <a:off x="5471612" y="2446390"/>
            <a:ext cx="1395413" cy="752475"/>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15421"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 </a:t>
            </a:r>
            <a:r>
              <a:rPr kumimoji="0" lang="en-US" sz="2000" b="0" i="0" u="none" strike="noStrike" kern="1200" cap="none" spc="0" normalizeH="0" baseline="0" noProof="0" dirty="0">
                <a:ln>
                  <a:noFill/>
                </a:ln>
                <a:solidFill>
                  <a:srgbClr val="FFFFFF"/>
                </a:solidFill>
                <a:effectLst/>
                <a:uLnTx/>
                <a:uFillTx/>
                <a:latin typeface="Segoe UI"/>
                <a:ea typeface="+mn-ea"/>
                <a:cs typeface="+mn-cs"/>
              </a:rPr>
              <a:t>Summary</a:t>
            </a:r>
          </a:p>
        </p:txBody>
      </p:sp>
      <p:grpSp>
        <p:nvGrpSpPr>
          <p:cNvPr id="109" name="Group 108">
            <a:extLst>
              <a:ext uri="{FF2B5EF4-FFF2-40B4-BE49-F238E27FC236}">
                <a16:creationId xmlns:a16="http://schemas.microsoft.com/office/drawing/2014/main" id="{35C8D398-EDF3-4CC6-9FAB-A7F18244BFC8}"/>
              </a:ext>
            </a:extLst>
          </p:cNvPr>
          <p:cNvGrpSpPr/>
          <p:nvPr/>
        </p:nvGrpSpPr>
        <p:grpSpPr>
          <a:xfrm>
            <a:off x="6850063" y="3827463"/>
            <a:ext cx="2266950" cy="2951163"/>
            <a:chOff x="6850063" y="3827463"/>
            <a:chExt cx="2266950" cy="2951163"/>
          </a:xfrm>
        </p:grpSpPr>
        <p:sp>
          <p:nvSpPr>
            <p:cNvPr id="110" name="Rectangle 11">
              <a:extLst>
                <a:ext uri="{FF2B5EF4-FFF2-40B4-BE49-F238E27FC236}">
                  <a16:creationId xmlns:a16="http://schemas.microsoft.com/office/drawing/2014/main" id="{25FA8B7F-EB27-436A-8322-F7BFBBBE21F1}"/>
                </a:ext>
              </a:extLst>
            </p:cNvPr>
            <p:cNvSpPr>
              <a:spLocks noChangeArrowheads="1"/>
            </p:cNvSpPr>
            <p:nvPr/>
          </p:nvSpPr>
          <p:spPr bwMode="auto">
            <a:xfrm>
              <a:off x="7075488" y="3827463"/>
              <a:ext cx="1931988" cy="2630488"/>
            </a:xfrm>
            <a:prstGeom prst="rect">
              <a:avLst/>
            </a:prstGeom>
            <a:solidFill>
              <a:srgbClr val="EBF1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2">
              <a:extLst>
                <a:ext uri="{FF2B5EF4-FFF2-40B4-BE49-F238E27FC236}">
                  <a16:creationId xmlns:a16="http://schemas.microsoft.com/office/drawing/2014/main" id="{2948C33F-655A-4282-9603-378409FA91F6}"/>
                </a:ext>
              </a:extLst>
            </p:cNvPr>
            <p:cNvSpPr>
              <a:spLocks noChangeArrowheads="1"/>
            </p:cNvSpPr>
            <p:nvPr/>
          </p:nvSpPr>
          <p:spPr bwMode="auto">
            <a:xfrm>
              <a:off x="7075488" y="3827463"/>
              <a:ext cx="1931988" cy="26304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Freeform 17">
              <a:extLst>
                <a:ext uri="{FF2B5EF4-FFF2-40B4-BE49-F238E27FC236}">
                  <a16:creationId xmlns:a16="http://schemas.microsoft.com/office/drawing/2014/main" id="{EDD86696-93A3-4BE3-93E4-A4303146F42B}"/>
                </a:ext>
              </a:extLst>
            </p:cNvPr>
            <p:cNvSpPr>
              <a:spLocks/>
            </p:cNvSpPr>
            <p:nvPr/>
          </p:nvSpPr>
          <p:spPr bwMode="auto">
            <a:xfrm>
              <a:off x="7164388" y="404177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8">
              <a:extLst>
                <a:ext uri="{FF2B5EF4-FFF2-40B4-BE49-F238E27FC236}">
                  <a16:creationId xmlns:a16="http://schemas.microsoft.com/office/drawing/2014/main" id="{F460B0E2-F189-42CE-8338-11F15A948FEE}"/>
                </a:ext>
              </a:extLst>
            </p:cNvPr>
            <p:cNvSpPr>
              <a:spLocks/>
            </p:cNvSpPr>
            <p:nvPr/>
          </p:nvSpPr>
          <p:spPr bwMode="auto">
            <a:xfrm>
              <a:off x="7164388" y="404177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9">
              <a:extLst>
                <a:ext uri="{FF2B5EF4-FFF2-40B4-BE49-F238E27FC236}">
                  <a16:creationId xmlns:a16="http://schemas.microsoft.com/office/drawing/2014/main" id="{A63B246D-ABB2-4ED4-88C8-1BD2307B4ACA}"/>
                </a:ext>
              </a:extLst>
            </p:cNvPr>
            <p:cNvSpPr>
              <a:spLocks noChangeArrowheads="1"/>
            </p:cNvSpPr>
            <p:nvPr/>
          </p:nvSpPr>
          <p:spPr bwMode="auto">
            <a:xfrm>
              <a:off x="7392988" y="4062413"/>
              <a:ext cx="6254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5" name="Rectangle 20">
              <a:extLst>
                <a:ext uri="{FF2B5EF4-FFF2-40B4-BE49-F238E27FC236}">
                  <a16:creationId xmlns:a16="http://schemas.microsoft.com/office/drawing/2014/main" id="{F1BE2B4D-0EE5-4BEF-9782-15290A66F63C}"/>
                </a:ext>
              </a:extLst>
            </p:cNvPr>
            <p:cNvSpPr>
              <a:spLocks noChangeArrowheads="1"/>
            </p:cNvSpPr>
            <p:nvPr/>
          </p:nvSpPr>
          <p:spPr bwMode="auto">
            <a:xfrm>
              <a:off x="7454900" y="4213226"/>
              <a:ext cx="49053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6" name="Freeform 62">
              <a:extLst>
                <a:ext uri="{FF2B5EF4-FFF2-40B4-BE49-F238E27FC236}">
                  <a16:creationId xmlns:a16="http://schemas.microsoft.com/office/drawing/2014/main" id="{55EF5391-E8DC-420C-9304-CA3304FD0720}"/>
                </a:ext>
              </a:extLst>
            </p:cNvPr>
            <p:cNvSpPr>
              <a:spLocks/>
            </p:cNvSpPr>
            <p:nvPr/>
          </p:nvSpPr>
          <p:spPr bwMode="auto">
            <a:xfrm>
              <a:off x="7908925" y="4859338"/>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63">
              <a:extLst>
                <a:ext uri="{FF2B5EF4-FFF2-40B4-BE49-F238E27FC236}">
                  <a16:creationId xmlns:a16="http://schemas.microsoft.com/office/drawing/2014/main" id="{F119FDA3-2A59-4A8B-A48E-196DED63894B}"/>
                </a:ext>
              </a:extLst>
            </p:cNvPr>
            <p:cNvSpPr>
              <a:spLocks/>
            </p:cNvSpPr>
            <p:nvPr/>
          </p:nvSpPr>
          <p:spPr bwMode="auto">
            <a:xfrm>
              <a:off x="7908925" y="4859338"/>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Rectangle 64">
              <a:extLst>
                <a:ext uri="{FF2B5EF4-FFF2-40B4-BE49-F238E27FC236}">
                  <a16:creationId xmlns:a16="http://schemas.microsoft.com/office/drawing/2014/main" id="{5DC63627-4525-4478-A7D0-E611F7A0F2C6}"/>
                </a:ext>
              </a:extLst>
            </p:cNvPr>
            <p:cNvSpPr>
              <a:spLocks noChangeArrowheads="1"/>
            </p:cNvSpPr>
            <p:nvPr/>
          </p:nvSpPr>
          <p:spPr bwMode="auto">
            <a:xfrm>
              <a:off x="8147050" y="4954588"/>
              <a:ext cx="60642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9" name="Freeform 65">
              <a:extLst>
                <a:ext uri="{FF2B5EF4-FFF2-40B4-BE49-F238E27FC236}">
                  <a16:creationId xmlns:a16="http://schemas.microsoft.com/office/drawing/2014/main" id="{C2C7F0F4-A656-4A39-9BB3-3E3971C84F1D}"/>
                </a:ext>
              </a:extLst>
            </p:cNvPr>
            <p:cNvSpPr>
              <a:spLocks/>
            </p:cNvSpPr>
            <p:nvPr/>
          </p:nvSpPr>
          <p:spPr bwMode="auto">
            <a:xfrm>
              <a:off x="7908925" y="5692776"/>
              <a:ext cx="963613"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66">
              <a:extLst>
                <a:ext uri="{FF2B5EF4-FFF2-40B4-BE49-F238E27FC236}">
                  <a16:creationId xmlns:a16="http://schemas.microsoft.com/office/drawing/2014/main" id="{E2DB2C39-2ECB-4A38-96D3-C812A0EA5EE3}"/>
                </a:ext>
              </a:extLst>
            </p:cNvPr>
            <p:cNvSpPr>
              <a:spLocks/>
            </p:cNvSpPr>
            <p:nvPr/>
          </p:nvSpPr>
          <p:spPr bwMode="auto">
            <a:xfrm>
              <a:off x="7908925" y="5692776"/>
              <a:ext cx="963613"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Rectangle 67">
              <a:extLst>
                <a:ext uri="{FF2B5EF4-FFF2-40B4-BE49-F238E27FC236}">
                  <a16:creationId xmlns:a16="http://schemas.microsoft.com/office/drawing/2014/main" id="{F43F7BAB-C328-4724-AB51-01ADC3FC0D02}"/>
                </a:ext>
              </a:extLst>
            </p:cNvPr>
            <p:cNvSpPr>
              <a:spLocks noChangeArrowheads="1"/>
            </p:cNvSpPr>
            <p:nvPr/>
          </p:nvSpPr>
          <p:spPr bwMode="auto">
            <a:xfrm>
              <a:off x="8110538" y="5732463"/>
              <a:ext cx="654050"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Retention &amp;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Rectangle 68">
              <a:extLst>
                <a:ext uri="{FF2B5EF4-FFF2-40B4-BE49-F238E27FC236}">
                  <a16:creationId xmlns:a16="http://schemas.microsoft.com/office/drawing/2014/main" id="{FFEA60F3-F6D2-45F2-9459-B7153FC99176}"/>
                </a:ext>
              </a:extLst>
            </p:cNvPr>
            <p:cNvSpPr>
              <a:spLocks noChangeArrowheads="1"/>
            </p:cNvSpPr>
            <p:nvPr/>
          </p:nvSpPr>
          <p:spPr bwMode="auto">
            <a:xfrm>
              <a:off x="7996238" y="5870576"/>
              <a:ext cx="858838"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Deletion 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3" name="Freeform 69">
              <a:extLst>
                <a:ext uri="{FF2B5EF4-FFF2-40B4-BE49-F238E27FC236}">
                  <a16:creationId xmlns:a16="http://schemas.microsoft.com/office/drawing/2014/main" id="{5EFC1133-A899-4750-8D08-4629DBBE305F}"/>
                </a:ext>
              </a:extLst>
            </p:cNvPr>
            <p:cNvSpPr>
              <a:spLocks/>
            </p:cNvSpPr>
            <p:nvPr/>
          </p:nvSpPr>
          <p:spPr bwMode="auto">
            <a:xfrm>
              <a:off x="7646988" y="4403726"/>
              <a:ext cx="200025" cy="636588"/>
            </a:xfrm>
            <a:custGeom>
              <a:avLst/>
              <a:gdLst>
                <a:gd name="T0" fmla="*/ 0 w 126"/>
                <a:gd name="T1" fmla="*/ 0 h 401"/>
                <a:gd name="T2" fmla="*/ 0 w 126"/>
                <a:gd name="T3" fmla="*/ 401 h 401"/>
                <a:gd name="T4" fmla="*/ 126 w 126"/>
                <a:gd name="T5" fmla="*/ 401 h 401"/>
              </a:gdLst>
              <a:ahLst/>
              <a:cxnLst>
                <a:cxn ang="0">
                  <a:pos x="T0" y="T1"/>
                </a:cxn>
                <a:cxn ang="0">
                  <a:pos x="T2" y="T3"/>
                </a:cxn>
                <a:cxn ang="0">
                  <a:pos x="T4" y="T5"/>
                </a:cxn>
              </a:cxnLst>
              <a:rect l="0" t="0" r="r" b="b"/>
              <a:pathLst>
                <a:path w="126" h="401">
                  <a:moveTo>
                    <a:pt x="0" y="0"/>
                  </a:moveTo>
                  <a:lnTo>
                    <a:pt x="0" y="401"/>
                  </a:lnTo>
                  <a:lnTo>
                    <a:pt x="126" y="401"/>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4" name="Freeform 70">
              <a:extLst>
                <a:ext uri="{FF2B5EF4-FFF2-40B4-BE49-F238E27FC236}">
                  <a16:creationId xmlns:a16="http://schemas.microsoft.com/office/drawing/2014/main" id="{6144D640-429D-40CF-85D9-0D61B7BCDC71}"/>
                </a:ext>
              </a:extLst>
            </p:cNvPr>
            <p:cNvSpPr>
              <a:spLocks/>
            </p:cNvSpPr>
            <p:nvPr/>
          </p:nvSpPr>
          <p:spPr bwMode="auto">
            <a:xfrm>
              <a:off x="7826375" y="4999038"/>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71">
              <a:extLst>
                <a:ext uri="{FF2B5EF4-FFF2-40B4-BE49-F238E27FC236}">
                  <a16:creationId xmlns:a16="http://schemas.microsoft.com/office/drawing/2014/main" id="{65AAA683-FF4E-4C49-991F-7646CA746D89}"/>
                </a:ext>
              </a:extLst>
            </p:cNvPr>
            <p:cNvSpPr>
              <a:spLocks/>
            </p:cNvSpPr>
            <p:nvPr/>
          </p:nvSpPr>
          <p:spPr bwMode="auto">
            <a:xfrm>
              <a:off x="7646988" y="4403726"/>
              <a:ext cx="200025" cy="1471613"/>
            </a:xfrm>
            <a:custGeom>
              <a:avLst/>
              <a:gdLst>
                <a:gd name="T0" fmla="*/ 0 w 126"/>
                <a:gd name="T1" fmla="*/ 0 h 927"/>
                <a:gd name="T2" fmla="*/ 0 w 126"/>
                <a:gd name="T3" fmla="*/ 927 h 927"/>
                <a:gd name="T4" fmla="*/ 126 w 126"/>
                <a:gd name="T5" fmla="*/ 927 h 927"/>
              </a:gdLst>
              <a:ahLst/>
              <a:cxnLst>
                <a:cxn ang="0">
                  <a:pos x="T0" y="T1"/>
                </a:cxn>
                <a:cxn ang="0">
                  <a:pos x="T2" y="T3"/>
                </a:cxn>
                <a:cxn ang="0">
                  <a:pos x="T4" y="T5"/>
                </a:cxn>
              </a:cxnLst>
              <a:rect l="0" t="0" r="r" b="b"/>
              <a:pathLst>
                <a:path w="126" h="927">
                  <a:moveTo>
                    <a:pt x="0" y="0"/>
                  </a:moveTo>
                  <a:lnTo>
                    <a:pt x="0" y="927"/>
                  </a:lnTo>
                  <a:lnTo>
                    <a:pt x="126" y="92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 name="Freeform 72">
              <a:extLst>
                <a:ext uri="{FF2B5EF4-FFF2-40B4-BE49-F238E27FC236}">
                  <a16:creationId xmlns:a16="http://schemas.microsoft.com/office/drawing/2014/main" id="{47E0165F-6AF4-4D9F-97CE-7E1D0AE275FF}"/>
                </a:ext>
              </a:extLst>
            </p:cNvPr>
            <p:cNvSpPr>
              <a:spLocks/>
            </p:cNvSpPr>
            <p:nvPr/>
          </p:nvSpPr>
          <p:spPr bwMode="auto">
            <a:xfrm>
              <a:off x="7826375" y="5832476"/>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Rectangle 80">
              <a:extLst>
                <a:ext uri="{FF2B5EF4-FFF2-40B4-BE49-F238E27FC236}">
                  <a16:creationId xmlns:a16="http://schemas.microsoft.com/office/drawing/2014/main" id="{CA876C7B-6374-4848-B1A0-C8D9B7B6C724}"/>
                </a:ext>
              </a:extLst>
            </p:cNvPr>
            <p:cNvSpPr>
              <a:spLocks noChangeArrowheads="1"/>
            </p:cNvSpPr>
            <p:nvPr/>
          </p:nvSpPr>
          <p:spPr bwMode="auto">
            <a:xfrm>
              <a:off x="6850063" y="6497638"/>
              <a:ext cx="22669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utomatically applies retention policies to the sco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8" name="Rectangle 81">
              <a:extLst>
                <a:ext uri="{FF2B5EF4-FFF2-40B4-BE49-F238E27FC236}">
                  <a16:creationId xmlns:a16="http://schemas.microsoft.com/office/drawing/2014/main" id="{6481AEE4-0784-4240-AA34-50EE2FF0F3FB}"/>
                </a:ext>
              </a:extLst>
            </p:cNvPr>
            <p:cNvSpPr>
              <a:spLocks noChangeArrowheads="1"/>
            </p:cNvSpPr>
            <p:nvPr/>
          </p:nvSpPr>
          <p:spPr bwMode="auto">
            <a:xfrm>
              <a:off x="6967538" y="6621463"/>
              <a:ext cx="20351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utomatically propagates to the scope 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9" name="Oval 128">
              <a:extLst>
                <a:ext uri="{FF2B5EF4-FFF2-40B4-BE49-F238E27FC236}">
                  <a16:creationId xmlns:a16="http://schemas.microsoft.com/office/drawing/2014/main" id="{93247DCF-C85A-465C-9BC2-B8C77895B2D8}"/>
                </a:ext>
              </a:extLst>
            </p:cNvPr>
            <p:cNvSpPr>
              <a:spLocks noChangeArrowheads="1"/>
            </p:cNvSpPr>
            <p:nvPr/>
          </p:nvSpPr>
          <p:spPr bwMode="auto">
            <a:xfrm>
              <a:off x="7132638" y="6143626"/>
              <a:ext cx="266700" cy="254000"/>
            </a:xfrm>
            <a:prstGeom prst="ellipse">
              <a:avLst/>
            </a:prstGeom>
            <a:solidFill>
              <a:srgbClr val="20586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Oval 129">
              <a:extLst>
                <a:ext uri="{FF2B5EF4-FFF2-40B4-BE49-F238E27FC236}">
                  <a16:creationId xmlns:a16="http://schemas.microsoft.com/office/drawing/2014/main" id="{8052DD26-E63F-4CF2-B9BF-D248AB1618A1}"/>
                </a:ext>
              </a:extLst>
            </p:cNvPr>
            <p:cNvSpPr>
              <a:spLocks noChangeArrowheads="1"/>
            </p:cNvSpPr>
            <p:nvPr/>
          </p:nvSpPr>
          <p:spPr bwMode="auto">
            <a:xfrm>
              <a:off x="7132638" y="6143626"/>
              <a:ext cx="266700" cy="254000"/>
            </a:xfrm>
            <a:prstGeom prst="ellipse">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Rectangle 130">
              <a:extLst>
                <a:ext uri="{FF2B5EF4-FFF2-40B4-BE49-F238E27FC236}">
                  <a16:creationId xmlns:a16="http://schemas.microsoft.com/office/drawing/2014/main" id="{27703482-E0D3-48D6-A1D9-69AB051E2B5A}"/>
                </a:ext>
              </a:extLst>
            </p:cNvPr>
            <p:cNvSpPr>
              <a:spLocks noChangeArrowheads="1"/>
            </p:cNvSpPr>
            <p:nvPr/>
          </p:nvSpPr>
          <p:spPr bwMode="auto">
            <a:xfrm>
              <a:off x="7210425" y="6122988"/>
              <a:ext cx="238125"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FFFFFF"/>
                  </a:solidFill>
                  <a:effectLst/>
                  <a:latin typeface="Calibri" panose="020F050202020403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Rectangle 139">
              <a:extLst>
                <a:ext uri="{FF2B5EF4-FFF2-40B4-BE49-F238E27FC236}">
                  <a16:creationId xmlns:a16="http://schemas.microsoft.com/office/drawing/2014/main" id="{4F823325-EAC8-49C2-8623-6C73E76BFB67}"/>
                </a:ext>
              </a:extLst>
            </p:cNvPr>
            <p:cNvSpPr>
              <a:spLocks noChangeArrowheads="1"/>
            </p:cNvSpPr>
            <p:nvPr/>
          </p:nvSpPr>
          <p:spPr bwMode="auto">
            <a:xfrm>
              <a:off x="7439025" y="6135688"/>
              <a:ext cx="8953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205867"/>
                  </a:solidFill>
                  <a:effectLst/>
                  <a:latin typeface="Segoe UI" panose="020B0502040204020203"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pic>
        <p:nvPicPr>
          <p:cNvPr id="13" name="Picture 12">
            <a:extLst>
              <a:ext uri="{FF2B5EF4-FFF2-40B4-BE49-F238E27FC236}">
                <a16:creationId xmlns:a16="http://schemas.microsoft.com/office/drawing/2014/main" id="{1359EB62-BDD1-4F69-57DC-84B78F9A5F75}"/>
              </a:ext>
            </a:extLst>
          </p:cNvPr>
          <p:cNvPicPr>
            <a:picLocks noChangeAspect="1"/>
          </p:cNvPicPr>
          <p:nvPr/>
        </p:nvPicPr>
        <p:blipFill>
          <a:blip r:embed="rId4"/>
          <a:stretch>
            <a:fillRect/>
          </a:stretch>
        </p:blipFill>
        <p:spPr>
          <a:xfrm>
            <a:off x="5664200" y="34040"/>
            <a:ext cx="1852613" cy="914400"/>
          </a:xfrm>
          <a:prstGeom prst="rect">
            <a:avLst/>
          </a:prstGeom>
        </p:spPr>
      </p:pic>
      <p:pic>
        <p:nvPicPr>
          <p:cNvPr id="6" name="Picture 5">
            <a:extLst>
              <a:ext uri="{FF2B5EF4-FFF2-40B4-BE49-F238E27FC236}">
                <a16:creationId xmlns:a16="http://schemas.microsoft.com/office/drawing/2014/main" id="{45EA1782-0484-EA85-DD58-A124CC9FC5AB}"/>
              </a:ext>
            </a:extLst>
          </p:cNvPr>
          <p:cNvPicPr>
            <a:picLocks noChangeAspect="1"/>
          </p:cNvPicPr>
          <p:nvPr/>
        </p:nvPicPr>
        <p:blipFill>
          <a:blip r:embed="rId5"/>
          <a:stretch>
            <a:fillRect/>
          </a:stretch>
        </p:blipFill>
        <p:spPr>
          <a:xfrm>
            <a:off x="1250573" y="657175"/>
            <a:ext cx="1662113" cy="2466975"/>
          </a:xfrm>
          <a:prstGeom prst="rect">
            <a:avLst/>
          </a:prstGeom>
        </p:spPr>
      </p:pic>
      <p:pic>
        <p:nvPicPr>
          <p:cNvPr id="8" name="Picture 7">
            <a:extLst>
              <a:ext uri="{FF2B5EF4-FFF2-40B4-BE49-F238E27FC236}">
                <a16:creationId xmlns:a16="http://schemas.microsoft.com/office/drawing/2014/main" id="{AB156A9D-5DBB-FE4F-15A5-F4F826CF39D7}"/>
              </a:ext>
            </a:extLst>
          </p:cNvPr>
          <p:cNvPicPr>
            <a:picLocks noChangeAspect="1"/>
          </p:cNvPicPr>
          <p:nvPr/>
        </p:nvPicPr>
        <p:blipFill>
          <a:blip r:embed="rId6"/>
          <a:stretch>
            <a:fillRect/>
          </a:stretch>
        </p:blipFill>
        <p:spPr>
          <a:xfrm>
            <a:off x="2887259" y="882470"/>
            <a:ext cx="2938463" cy="1809750"/>
          </a:xfrm>
          <a:prstGeom prst="rect">
            <a:avLst/>
          </a:prstGeom>
        </p:spPr>
      </p:pic>
      <p:pic>
        <p:nvPicPr>
          <p:cNvPr id="12" name="Picture 11">
            <a:extLst>
              <a:ext uri="{FF2B5EF4-FFF2-40B4-BE49-F238E27FC236}">
                <a16:creationId xmlns:a16="http://schemas.microsoft.com/office/drawing/2014/main" id="{735F57A2-2402-775C-A5DA-B534970D6052}"/>
              </a:ext>
            </a:extLst>
          </p:cNvPr>
          <p:cNvPicPr>
            <a:picLocks noChangeAspect="1"/>
          </p:cNvPicPr>
          <p:nvPr/>
        </p:nvPicPr>
        <p:blipFill>
          <a:blip r:embed="rId7"/>
          <a:stretch>
            <a:fillRect/>
          </a:stretch>
        </p:blipFill>
        <p:spPr>
          <a:xfrm>
            <a:off x="1059132" y="2628512"/>
            <a:ext cx="2176463" cy="4219575"/>
          </a:xfrm>
          <a:prstGeom prst="rect">
            <a:avLst/>
          </a:prstGeom>
        </p:spPr>
      </p:pic>
      <p:pic>
        <p:nvPicPr>
          <p:cNvPr id="133" name="Picture 132">
            <a:extLst>
              <a:ext uri="{FF2B5EF4-FFF2-40B4-BE49-F238E27FC236}">
                <a16:creationId xmlns:a16="http://schemas.microsoft.com/office/drawing/2014/main" id="{9BFA725E-BCF3-A55B-9DE8-105ABBF16166}"/>
              </a:ext>
            </a:extLst>
          </p:cNvPr>
          <p:cNvPicPr>
            <a:picLocks noChangeAspect="1"/>
          </p:cNvPicPr>
          <p:nvPr/>
        </p:nvPicPr>
        <p:blipFill>
          <a:blip r:embed="rId8"/>
          <a:stretch>
            <a:fillRect/>
          </a:stretch>
        </p:blipFill>
        <p:spPr>
          <a:xfrm>
            <a:off x="4990803" y="889589"/>
            <a:ext cx="2328863" cy="1747838"/>
          </a:xfrm>
          <a:prstGeom prst="rect">
            <a:avLst/>
          </a:prstGeom>
        </p:spPr>
      </p:pic>
      <p:pic>
        <p:nvPicPr>
          <p:cNvPr id="135" name="Picture 134">
            <a:extLst>
              <a:ext uri="{FF2B5EF4-FFF2-40B4-BE49-F238E27FC236}">
                <a16:creationId xmlns:a16="http://schemas.microsoft.com/office/drawing/2014/main" id="{0731AF33-1C64-0BFA-0194-0D214A79028A}"/>
              </a:ext>
            </a:extLst>
          </p:cNvPr>
          <p:cNvPicPr>
            <a:picLocks noChangeAspect="1"/>
          </p:cNvPicPr>
          <p:nvPr/>
        </p:nvPicPr>
        <p:blipFill>
          <a:blip r:embed="rId9"/>
          <a:stretch>
            <a:fillRect/>
          </a:stretch>
        </p:blipFill>
        <p:spPr>
          <a:xfrm>
            <a:off x="5656950" y="889589"/>
            <a:ext cx="995363" cy="2109788"/>
          </a:xfrm>
          <a:prstGeom prst="rect">
            <a:avLst/>
          </a:prstGeom>
        </p:spPr>
      </p:pic>
      <p:pic>
        <p:nvPicPr>
          <p:cNvPr id="137" name="Picture 136">
            <a:extLst>
              <a:ext uri="{FF2B5EF4-FFF2-40B4-BE49-F238E27FC236}">
                <a16:creationId xmlns:a16="http://schemas.microsoft.com/office/drawing/2014/main" id="{1350EB66-05BF-F1F4-0F63-0F35207837A0}"/>
              </a:ext>
            </a:extLst>
          </p:cNvPr>
          <p:cNvPicPr>
            <a:picLocks noChangeAspect="1"/>
          </p:cNvPicPr>
          <p:nvPr/>
        </p:nvPicPr>
        <p:blipFill>
          <a:blip r:embed="rId10"/>
          <a:stretch>
            <a:fillRect/>
          </a:stretch>
        </p:blipFill>
        <p:spPr>
          <a:xfrm>
            <a:off x="3498850" y="2628512"/>
            <a:ext cx="2376488" cy="4219575"/>
          </a:xfrm>
          <a:prstGeom prst="rect">
            <a:avLst/>
          </a:prstGeom>
        </p:spPr>
      </p:pic>
    </p:spTree>
    <p:extLst>
      <p:ext uri="{BB962C8B-B14F-4D97-AF65-F5344CB8AC3E}">
        <p14:creationId xmlns:p14="http://schemas.microsoft.com/office/powerpoint/2010/main" val="1728509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35"/>
                                        </p:tgtEl>
                                        <p:attrNameLst>
                                          <p:attrName>style.visibility</p:attrName>
                                        </p:attrNameLst>
                                      </p:cBhvr>
                                      <p:to>
                                        <p:strVal val="visible"/>
                                      </p:to>
                                    </p:set>
                                    <p:animEffect transition="in" filter="wipe(up)">
                                      <p:cBhvr>
                                        <p:cTn id="12" dur="1000"/>
                                        <p:tgtEl>
                                          <p:spTgt spid="13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33"/>
                                        </p:tgtEl>
                                        <p:attrNameLst>
                                          <p:attrName>style.visibility</p:attrName>
                                        </p:attrNameLst>
                                      </p:cBhvr>
                                      <p:to>
                                        <p:strVal val="visible"/>
                                      </p:to>
                                    </p:set>
                                    <p:animEffect transition="in" filter="wipe(up)">
                                      <p:cBhvr>
                                        <p:cTn id="17" dur="1000"/>
                                        <p:tgtEl>
                                          <p:spTgt spid="13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right)">
                                      <p:cBhvr>
                                        <p:cTn id="22" dur="10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right)">
                                      <p:cBhvr>
                                        <p:cTn id="27" dur="10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down)">
                                      <p:cBhvr>
                                        <p:cTn id="37" dur="10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37"/>
                                        </p:tgtEl>
                                        <p:attrNameLst>
                                          <p:attrName>style.visibility</p:attrName>
                                        </p:attrNameLst>
                                      </p:cBhvr>
                                      <p:to>
                                        <p:strVal val="visible"/>
                                      </p:to>
                                    </p:set>
                                    <p:animEffect transition="in" filter="wipe(down)">
                                      <p:cBhvr>
                                        <p:cTn id="42" dur="1000"/>
                                        <p:tgtEl>
                                          <p:spTgt spid="13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fade">
                                      <p:cBhvr>
                                        <p:cTn id="47" dur="1000"/>
                                        <p:tgtEl>
                                          <p:spTgt spid="10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wipe(left)">
                                      <p:cBhvr>
                                        <p:cTn id="52"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a:t>
            </a: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a:t>
            </a:r>
          </a:p>
        </p:txBody>
      </p:sp>
      <p:pic>
        <p:nvPicPr>
          <p:cNvPr id="5" name="Picture 4">
            <a:extLst>
              <a:ext uri="{FF2B5EF4-FFF2-40B4-BE49-F238E27FC236}">
                <a16:creationId xmlns:a16="http://schemas.microsoft.com/office/drawing/2014/main" id="{615688B9-78E6-E77D-BEC0-873EB65E26EC}"/>
              </a:ext>
            </a:extLst>
          </p:cNvPr>
          <p:cNvPicPr>
            <a:picLocks noChangeAspect="1"/>
          </p:cNvPicPr>
          <p:nvPr/>
        </p:nvPicPr>
        <p:blipFill>
          <a:blip r:embed="rId2"/>
          <a:stretch>
            <a:fillRect/>
          </a:stretch>
        </p:blipFill>
        <p:spPr>
          <a:xfrm>
            <a:off x="393124" y="19050"/>
            <a:ext cx="11820525" cy="6819900"/>
          </a:xfrm>
          <a:prstGeom prst="rect">
            <a:avLst/>
          </a:prstGeom>
        </p:spPr>
      </p:pic>
    </p:spTree>
    <p:extLst>
      <p:ext uri="{BB962C8B-B14F-4D97-AF65-F5344CB8AC3E}">
        <p14:creationId xmlns:p14="http://schemas.microsoft.com/office/powerpoint/2010/main" val="2875302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7"/>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1438498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12</Words>
  <Application>Microsoft Office PowerPoint</Application>
  <PresentationFormat>Widescreen</PresentationFormat>
  <Paragraphs>84</Paragraphs>
  <Slides>10</Slides>
  <Notes>6</Notes>
  <HiddenSlides>0</HiddenSlides>
  <MMClips>0</MMClips>
  <ScaleCrop>false</ScaleCrop>
  <HeadingPairs>
    <vt:vector size="8" baseType="variant">
      <vt:variant>
        <vt:lpstr>Fonts Used</vt:lpstr>
      </vt:variant>
      <vt:variant>
        <vt:i4>11</vt:i4>
      </vt:variant>
      <vt:variant>
        <vt:lpstr>Theme</vt:lpstr>
      </vt:variant>
      <vt:variant>
        <vt:i4>14</vt:i4>
      </vt:variant>
      <vt:variant>
        <vt:lpstr>Embedded OLE Servers</vt:lpstr>
      </vt:variant>
      <vt:variant>
        <vt:i4>1</vt:i4>
      </vt:variant>
      <vt:variant>
        <vt:lpstr>Slide Titles</vt:lpstr>
      </vt:variant>
      <vt:variant>
        <vt:i4>10</vt:i4>
      </vt:variant>
    </vt:vector>
  </HeadingPairs>
  <TitlesOfParts>
    <vt:vector size="36"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3_Microsoft Security template</vt:lpstr>
      <vt:lpstr>think-cell Slide</vt:lpstr>
      <vt:lpstr>Vision Diagrams Series Data Lifecycle Management &amp; Record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ision Diagrams Series Data Lifecycle Management &amp; Records Manage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2-08-10T15:2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